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notesSlides/notesSlide1.xml" ContentType="application/vnd.openxmlformats-officedocument.presentationml.notesSlide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notesSlides/notesSlide2.xml" ContentType="application/vnd.openxmlformats-officedocument.presentationml.notesSlide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notesSlides/notesSlide3.xml" ContentType="application/vnd.openxmlformats-officedocument.presentationml.notesSlide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notesSlides/notesSlide4.xml" ContentType="application/vnd.openxmlformats-officedocument.presentationml.notesSlide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07" r:id="rId2"/>
    <p:sldMasterId id="2147483931" r:id="rId3"/>
  </p:sldMasterIdLst>
  <p:notesMasterIdLst>
    <p:notesMasterId r:id="rId9"/>
  </p:notesMasterIdLst>
  <p:handoutMasterIdLst>
    <p:handoutMasterId r:id="rId10"/>
  </p:handoutMasterIdLst>
  <p:sldIdLst>
    <p:sldId id="2147374848" r:id="rId4"/>
    <p:sldId id="2147374823" r:id="rId5"/>
    <p:sldId id="2147374824" r:id="rId6"/>
    <p:sldId id="2147374875" r:id="rId7"/>
    <p:sldId id="2147374864" r:id="rId8"/>
  </p:sldIdLst>
  <p:sldSz cx="7772400" cy="100584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92" userDrawn="1">
          <p15:clr>
            <a:srgbClr val="A4A3A4"/>
          </p15:clr>
        </p15:guide>
        <p15:guide id="2" orient="horz" pos="768" userDrawn="1">
          <p15:clr>
            <a:srgbClr val="A4A3A4"/>
          </p15:clr>
        </p15:guide>
        <p15:guide id="4" pos="24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Kumar J" initials="KJ" lastIdx="1" clrIdx="1">
    <p:extLst>
      <p:ext uri="{19B8F6BF-5375-455C-9EA6-DF929625EA0E}">
        <p15:presenceInfo xmlns:p15="http://schemas.microsoft.com/office/powerpoint/2012/main" userId="S::Kumar_J@external.mckinsey.com::5948248d-963e-4fff-9285-2127beba9d1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FC000"/>
    <a:srgbClr val="051C2C"/>
    <a:srgbClr val="000000"/>
    <a:srgbClr val="7F7F7F"/>
    <a:srgbClr val="AFC3FF"/>
    <a:srgbClr val="0D3171"/>
    <a:srgbClr val="E6E6E6"/>
    <a:srgbClr val="4D4D4D"/>
    <a:srgbClr val="00A9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9" autoAdjust="0"/>
    <p:restoredTop sz="96201" autoAdjust="0"/>
  </p:normalViewPr>
  <p:slideViewPr>
    <p:cSldViewPr snapToGrid="0" snapToObjects="1">
      <p:cViewPr>
        <p:scale>
          <a:sx n="60" d="100"/>
          <a:sy n="60" d="100"/>
        </p:scale>
        <p:origin x="3222" y="594"/>
      </p:cViewPr>
      <p:guideLst>
        <p:guide orient="horz" pos="3192"/>
        <p:guide orient="horz" pos="768"/>
        <p:guide pos="2448"/>
      </p:guideLst>
    </p:cSldViewPr>
  </p:slideViewPr>
  <p:outlineViewPr>
    <p:cViewPr>
      <p:scale>
        <a:sx n="33" d="100"/>
        <a:sy n="33" d="100"/>
      </p:scale>
      <p:origin x="0" y="-24019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812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6 June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6 June 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563563"/>
            <a:ext cx="2447925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4998260" y="11404454"/>
            <a:ext cx="465306" cy="1538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69143" eaLnBrk="0" hangingPunct="0">
              <a:defRPr sz="1300" i="1">
                <a:solidFill>
                  <a:schemeClr val="tx1"/>
                </a:solidFill>
                <a:latin typeface="Arial" pitchFamily="34" charset="0"/>
              </a:defRPr>
            </a:lvl1pPr>
            <a:lvl2pPr marL="707407" indent="-272080" defTabSz="869143" eaLnBrk="0" hangingPunct="0">
              <a:defRPr sz="1300" i="1">
                <a:solidFill>
                  <a:schemeClr val="tx1"/>
                </a:solidFill>
                <a:latin typeface="Arial" pitchFamily="34" charset="0"/>
              </a:defRPr>
            </a:lvl2pPr>
            <a:lvl3pPr marL="1088318" indent="-217664" defTabSz="869143" eaLnBrk="0" hangingPunct="0">
              <a:defRPr sz="1300" i="1">
                <a:solidFill>
                  <a:schemeClr val="tx1"/>
                </a:solidFill>
                <a:latin typeface="Arial" pitchFamily="34" charset="0"/>
              </a:defRPr>
            </a:lvl3pPr>
            <a:lvl4pPr marL="1523644" indent="-217664" defTabSz="869143" eaLnBrk="0" hangingPunct="0">
              <a:defRPr sz="1300" i="1">
                <a:solidFill>
                  <a:schemeClr val="tx1"/>
                </a:solidFill>
                <a:latin typeface="Arial" pitchFamily="34" charset="0"/>
              </a:defRPr>
            </a:lvl4pPr>
            <a:lvl5pPr marL="1958972" indent="-217664" defTabSz="869143" eaLnBrk="0" hangingPunct="0">
              <a:defRPr sz="1300" i="1">
                <a:solidFill>
                  <a:schemeClr val="tx1"/>
                </a:solidFill>
                <a:latin typeface="Arial" pitchFamily="34" charset="0"/>
              </a:defRPr>
            </a:lvl5pPr>
            <a:lvl6pPr marL="2394300" indent="-217664" defTabSz="869143" eaLnBrk="0" fontAlgn="base" hangingPunct="0">
              <a:spcBef>
                <a:spcPct val="0"/>
              </a:spcBef>
              <a:spcAft>
                <a:spcPct val="0"/>
              </a:spcAft>
              <a:defRPr sz="1300" i="1">
                <a:solidFill>
                  <a:schemeClr val="tx1"/>
                </a:solidFill>
                <a:latin typeface="Arial" pitchFamily="34" charset="0"/>
              </a:defRPr>
            </a:lvl6pPr>
            <a:lvl7pPr marL="2829627" indent="-217664" defTabSz="869143" eaLnBrk="0" fontAlgn="base" hangingPunct="0">
              <a:spcBef>
                <a:spcPct val="0"/>
              </a:spcBef>
              <a:spcAft>
                <a:spcPct val="0"/>
              </a:spcAft>
              <a:defRPr sz="1300" i="1">
                <a:solidFill>
                  <a:schemeClr val="tx1"/>
                </a:solidFill>
                <a:latin typeface="Arial" pitchFamily="34" charset="0"/>
              </a:defRPr>
            </a:lvl7pPr>
            <a:lvl8pPr marL="3264954" indent="-217664" defTabSz="869143" eaLnBrk="0" fontAlgn="base" hangingPunct="0">
              <a:spcBef>
                <a:spcPct val="0"/>
              </a:spcBef>
              <a:spcAft>
                <a:spcPct val="0"/>
              </a:spcAft>
              <a:defRPr sz="1300" i="1">
                <a:solidFill>
                  <a:schemeClr val="tx1"/>
                </a:solidFill>
                <a:latin typeface="Arial" pitchFamily="34" charset="0"/>
              </a:defRPr>
            </a:lvl8pPr>
            <a:lvl9pPr marL="3700282" indent="-217664" defTabSz="869143" eaLnBrk="0" fontAlgn="base" hangingPunct="0">
              <a:spcBef>
                <a:spcPct val="0"/>
              </a:spcBef>
              <a:spcAft>
                <a:spcPct val="0"/>
              </a:spcAft>
              <a:defRPr sz="1300" i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869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417C78-82E0-4DAC-904C-7C2FDC54665F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panose="020B0604020202020204" pitchFamily="34" charset="0"/>
              </a:rPr>
              <a:pPr marL="0" marR="0" lvl="0" indent="0" algn="r" defTabSz="869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8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474975" y="6335651"/>
            <a:ext cx="4998252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6904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June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311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4388" y="2398713"/>
            <a:ext cx="5757862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808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June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53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June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797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9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Relationship Id="rId9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2.emf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5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image" Target="../media/image1.emf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11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image" Target="../media/image1.emf"/><Relationship Id="rId2" Type="http://schemas.openxmlformats.org/officeDocument/2006/relationships/tags" Target="../tags/tag140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image" Target="../media/image5.png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4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84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emf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92.xml"/><Relationship Id="rId11" Type="http://schemas.openxmlformats.org/officeDocument/2006/relationships/image" Target="../media/image1.emf"/><Relationship Id="rId5" Type="http://schemas.openxmlformats.org/officeDocument/2006/relationships/tags" Target="../tags/tag191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90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image" Target="../media/image6.emf"/><Relationship Id="rId4" Type="http://schemas.openxmlformats.org/officeDocument/2006/relationships/tags" Target="../tags/tag197.xml"/><Relationship Id="rId9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10" Type="http://schemas.openxmlformats.org/officeDocument/2006/relationships/image" Target="../media/image6.emf"/><Relationship Id="rId4" Type="http://schemas.openxmlformats.org/officeDocument/2006/relationships/tags" Target="../tags/tag203.xml"/><Relationship Id="rId9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10" Type="http://schemas.openxmlformats.org/officeDocument/2006/relationships/image" Target="../media/image6.emf"/><Relationship Id="rId4" Type="http://schemas.openxmlformats.org/officeDocument/2006/relationships/tags" Target="../tags/tag209.xml"/><Relationship Id="rId9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17.xml"/><Relationship Id="rId11" Type="http://schemas.openxmlformats.org/officeDocument/2006/relationships/image" Target="../media/image6.emf"/><Relationship Id="rId5" Type="http://schemas.openxmlformats.org/officeDocument/2006/relationships/tags" Target="../tags/tag216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215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image" Target="../media/image1.emf"/><Relationship Id="rId2" Type="http://schemas.openxmlformats.org/officeDocument/2006/relationships/tags" Target="../tags/tag220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image" Target="../media/image1.emf"/><Relationship Id="rId2" Type="http://schemas.openxmlformats.org/officeDocument/2006/relationships/tags" Target="../tags/tag233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13" Type="http://schemas.openxmlformats.org/officeDocument/2006/relationships/tags" Target="../tags/tag257.xml"/><Relationship Id="rId18" Type="http://schemas.openxmlformats.org/officeDocument/2006/relationships/image" Target="../media/image1.emf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tags" Target="../tags/tag256.xml"/><Relationship Id="rId17" Type="http://schemas.openxmlformats.org/officeDocument/2006/relationships/oleObject" Target="../embeddings/oleObject26.bin"/><Relationship Id="rId2" Type="http://schemas.openxmlformats.org/officeDocument/2006/relationships/tags" Target="../tags/tag24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10" Type="http://schemas.openxmlformats.org/officeDocument/2006/relationships/tags" Target="../tags/tag254.xml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image" Target="../media/image7.emf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oleObject" Target="../embeddings/oleObject27.bin"/><Relationship Id="rId2" Type="http://schemas.openxmlformats.org/officeDocument/2006/relationships/tags" Target="../tags/tag260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5" Type="http://schemas.openxmlformats.org/officeDocument/2006/relationships/tags" Target="../tags/tag263.xml"/><Relationship Id="rId15" Type="http://schemas.openxmlformats.org/officeDocument/2006/relationships/tags" Target="../tags/tag273.xml"/><Relationship Id="rId10" Type="http://schemas.openxmlformats.org/officeDocument/2006/relationships/tags" Target="../tags/tag268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tags" Target="../tags/tag27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13" Type="http://schemas.openxmlformats.org/officeDocument/2006/relationships/tags" Target="../tags/tag285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12" Type="http://schemas.openxmlformats.org/officeDocument/2006/relationships/tags" Target="../tags/tag284.xml"/><Relationship Id="rId17" Type="http://schemas.openxmlformats.org/officeDocument/2006/relationships/image" Target="../media/image1.emf"/><Relationship Id="rId2" Type="http://schemas.openxmlformats.org/officeDocument/2006/relationships/tags" Target="../tags/tag274.xml"/><Relationship Id="rId16" Type="http://schemas.openxmlformats.org/officeDocument/2006/relationships/oleObject" Target="../embeddings/oleObject28.bin"/><Relationship Id="rId1" Type="http://schemas.openxmlformats.org/officeDocument/2006/relationships/vmlDrawing" Target="../drawings/vmlDrawing28.v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5" Type="http://schemas.openxmlformats.org/officeDocument/2006/relationships/tags" Target="../tags/tag27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tags" Target="../tags/tag28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image" Target="../media/image2.emf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image" Target="../media/image6.emf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oleObject" Target="../embeddings/oleObject29.bin"/><Relationship Id="rId2" Type="http://schemas.openxmlformats.org/officeDocument/2006/relationships/tags" Target="../tags/tag28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9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90.xml"/><Relationship Id="rId10" Type="http://schemas.openxmlformats.org/officeDocument/2006/relationships/tags" Target="../tags/tag295.xml"/><Relationship Id="rId4" Type="http://schemas.openxmlformats.org/officeDocument/2006/relationships/tags" Target="../tags/tag289.xml"/><Relationship Id="rId9" Type="http://schemas.openxmlformats.org/officeDocument/2006/relationships/tags" Target="../tags/tag29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4" Type="http://schemas.openxmlformats.org/officeDocument/2006/relationships/tags" Target="../tags/tag298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02.xml"/><Relationship Id="rId7" Type="http://schemas.openxmlformats.org/officeDocument/2006/relationships/image" Target="../media/image4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5.xml"/><Relationship Id="rId7" Type="http://schemas.openxmlformats.org/officeDocument/2006/relationships/tags" Target="../tags/tag309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08.xml"/><Relationship Id="rId5" Type="http://schemas.openxmlformats.org/officeDocument/2006/relationships/tags" Target="../tags/tag307.xml"/><Relationship Id="rId10" Type="http://schemas.openxmlformats.org/officeDocument/2006/relationships/image" Target="../media/image1.emf"/><Relationship Id="rId4" Type="http://schemas.openxmlformats.org/officeDocument/2006/relationships/tags" Target="../tags/tag306.xml"/><Relationship Id="rId9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10" Type="http://schemas.openxmlformats.org/officeDocument/2006/relationships/image" Target="../media/image1.emf"/><Relationship Id="rId4" Type="http://schemas.openxmlformats.org/officeDocument/2006/relationships/tags" Target="../tags/tag312.xml"/><Relationship Id="rId9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4.vml"/><Relationship Id="rId6" Type="http://schemas.openxmlformats.org/officeDocument/2006/relationships/tags" Target="../tags/tag320.xml"/><Relationship Id="rId5" Type="http://schemas.openxmlformats.org/officeDocument/2006/relationships/tags" Target="../tags/tag319.xml"/><Relationship Id="rId10" Type="http://schemas.openxmlformats.org/officeDocument/2006/relationships/image" Target="../media/image2.emf"/><Relationship Id="rId4" Type="http://schemas.openxmlformats.org/officeDocument/2006/relationships/tags" Target="../tags/tag318.xml"/><Relationship Id="rId9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3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5.vml"/><Relationship Id="rId6" Type="http://schemas.openxmlformats.org/officeDocument/2006/relationships/tags" Target="../tags/tag326.xml"/><Relationship Id="rId5" Type="http://schemas.openxmlformats.org/officeDocument/2006/relationships/tags" Target="../tags/tag325.xml"/><Relationship Id="rId4" Type="http://schemas.openxmlformats.org/officeDocument/2006/relationships/tags" Target="../tags/tag324.xml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6.vml"/><Relationship Id="rId6" Type="http://schemas.openxmlformats.org/officeDocument/2006/relationships/tags" Target="../tags/tag331.xml"/><Relationship Id="rId11" Type="http://schemas.openxmlformats.org/officeDocument/2006/relationships/image" Target="../media/image1.emf"/><Relationship Id="rId5" Type="http://schemas.openxmlformats.org/officeDocument/2006/relationships/tags" Target="../tags/tag330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329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38.xml"/><Relationship Id="rId5" Type="http://schemas.openxmlformats.org/officeDocument/2006/relationships/tags" Target="../tags/tag337.xml"/><Relationship Id="rId10" Type="http://schemas.openxmlformats.org/officeDocument/2006/relationships/image" Target="../media/image1.emf"/><Relationship Id="rId4" Type="http://schemas.openxmlformats.org/officeDocument/2006/relationships/tags" Target="../tags/tag336.xml"/><Relationship Id="rId9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2.emf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oleObject" Target="../embeddings/oleObject5.bin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tags" Target="../tags/tag351.xml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tags" Target="../tags/tag350.xml"/><Relationship Id="rId17" Type="http://schemas.openxmlformats.org/officeDocument/2006/relationships/image" Target="../media/image2.emf"/><Relationship Id="rId2" Type="http://schemas.openxmlformats.org/officeDocument/2006/relationships/tags" Target="../tags/tag340.xml"/><Relationship Id="rId16" Type="http://schemas.openxmlformats.org/officeDocument/2006/relationships/oleObject" Target="../embeddings/oleObject38.bin"/><Relationship Id="rId1" Type="http://schemas.openxmlformats.org/officeDocument/2006/relationships/vmlDrawing" Target="../drawings/vmlDrawing38.vml"/><Relationship Id="rId6" Type="http://schemas.openxmlformats.org/officeDocument/2006/relationships/tags" Target="../tags/tag344.xml"/><Relationship Id="rId11" Type="http://schemas.openxmlformats.org/officeDocument/2006/relationships/tags" Target="../tags/tag349.xml"/><Relationship Id="rId5" Type="http://schemas.openxmlformats.org/officeDocument/2006/relationships/tags" Target="../tags/tag3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48.xml"/><Relationship Id="rId4" Type="http://schemas.openxmlformats.org/officeDocument/2006/relationships/tags" Target="../tags/tag342.xml"/><Relationship Id="rId9" Type="http://schemas.openxmlformats.org/officeDocument/2006/relationships/tags" Target="../tags/tag347.xml"/><Relationship Id="rId14" Type="http://schemas.openxmlformats.org/officeDocument/2006/relationships/tags" Target="../tags/tag35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13" Type="http://schemas.openxmlformats.org/officeDocument/2006/relationships/image" Target="../media/image5.png"/><Relationship Id="rId3" Type="http://schemas.openxmlformats.org/officeDocument/2006/relationships/tags" Target="../tags/tag377.xml"/><Relationship Id="rId7" Type="http://schemas.openxmlformats.org/officeDocument/2006/relationships/tags" Target="../tags/tag381.xml"/><Relationship Id="rId12" Type="http://schemas.openxmlformats.org/officeDocument/2006/relationships/image" Target="../media/image4.emf"/><Relationship Id="rId2" Type="http://schemas.openxmlformats.org/officeDocument/2006/relationships/tags" Target="../tags/tag376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80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3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8.xml"/><Relationship Id="rId9" Type="http://schemas.openxmlformats.org/officeDocument/2006/relationships/tags" Target="../tags/tag38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88.xml"/><Relationship Id="rId11" Type="http://schemas.openxmlformats.org/officeDocument/2006/relationships/image" Target="../media/image1.emf"/><Relationship Id="rId5" Type="http://schemas.openxmlformats.org/officeDocument/2006/relationships/tags" Target="../tags/tag387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386.xml"/><Relationship Id="rId9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95.xml"/><Relationship Id="rId5" Type="http://schemas.openxmlformats.org/officeDocument/2006/relationships/tags" Target="../tags/tag394.xml"/><Relationship Id="rId10" Type="http://schemas.openxmlformats.org/officeDocument/2006/relationships/image" Target="../media/image6.emf"/><Relationship Id="rId4" Type="http://schemas.openxmlformats.org/officeDocument/2006/relationships/tags" Target="../tags/tag393.xml"/><Relationship Id="rId9" Type="http://schemas.openxmlformats.org/officeDocument/2006/relationships/oleObject" Target="../embeddings/oleObject42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43.vml"/><Relationship Id="rId6" Type="http://schemas.openxmlformats.org/officeDocument/2006/relationships/tags" Target="../tags/tag401.xml"/><Relationship Id="rId5" Type="http://schemas.openxmlformats.org/officeDocument/2006/relationships/tags" Target="../tags/tag400.xml"/><Relationship Id="rId10" Type="http://schemas.openxmlformats.org/officeDocument/2006/relationships/image" Target="../media/image6.emf"/><Relationship Id="rId4" Type="http://schemas.openxmlformats.org/officeDocument/2006/relationships/tags" Target="../tags/tag399.xml"/><Relationship Id="rId9" Type="http://schemas.openxmlformats.org/officeDocument/2006/relationships/oleObject" Target="../embeddings/oleObject43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44.vml"/><Relationship Id="rId6" Type="http://schemas.openxmlformats.org/officeDocument/2006/relationships/tags" Target="../tags/tag407.xml"/><Relationship Id="rId5" Type="http://schemas.openxmlformats.org/officeDocument/2006/relationships/tags" Target="../tags/tag406.xml"/><Relationship Id="rId10" Type="http://schemas.openxmlformats.org/officeDocument/2006/relationships/image" Target="../media/image6.emf"/><Relationship Id="rId4" Type="http://schemas.openxmlformats.org/officeDocument/2006/relationships/tags" Target="../tags/tag405.xml"/><Relationship Id="rId9" Type="http://schemas.openxmlformats.org/officeDocument/2006/relationships/oleObject" Target="../embeddings/oleObject44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45.vml"/><Relationship Id="rId6" Type="http://schemas.openxmlformats.org/officeDocument/2006/relationships/tags" Target="../tags/tag413.xml"/><Relationship Id="rId11" Type="http://schemas.openxmlformats.org/officeDocument/2006/relationships/image" Target="../media/image6.emf"/><Relationship Id="rId5" Type="http://schemas.openxmlformats.org/officeDocument/2006/relationships/tags" Target="../tags/tag412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411.xml"/><Relationship Id="rId9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tags" Target="../tags/tag427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tags" Target="../tags/tag426.xml"/><Relationship Id="rId17" Type="http://schemas.openxmlformats.org/officeDocument/2006/relationships/image" Target="../media/image1.emf"/><Relationship Id="rId2" Type="http://schemas.openxmlformats.org/officeDocument/2006/relationships/tags" Target="../tags/tag416.xml"/><Relationship Id="rId16" Type="http://schemas.openxmlformats.org/officeDocument/2006/relationships/oleObject" Target="../embeddings/oleObject46.bin"/><Relationship Id="rId1" Type="http://schemas.openxmlformats.org/officeDocument/2006/relationships/vmlDrawing" Target="../drawings/vmlDrawing46.vml"/><Relationship Id="rId6" Type="http://schemas.openxmlformats.org/officeDocument/2006/relationships/tags" Target="../tags/tag420.xml"/><Relationship Id="rId11" Type="http://schemas.openxmlformats.org/officeDocument/2006/relationships/tags" Target="../tags/tag425.xml"/><Relationship Id="rId5" Type="http://schemas.openxmlformats.org/officeDocument/2006/relationships/tags" Target="../tags/tag41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24.xml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tags" Target="../tags/tag428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35.xml"/><Relationship Id="rId13" Type="http://schemas.openxmlformats.org/officeDocument/2006/relationships/tags" Target="../tags/tag440.xml"/><Relationship Id="rId3" Type="http://schemas.openxmlformats.org/officeDocument/2006/relationships/tags" Target="../tags/tag430.xml"/><Relationship Id="rId7" Type="http://schemas.openxmlformats.org/officeDocument/2006/relationships/tags" Target="../tags/tag434.xml"/><Relationship Id="rId12" Type="http://schemas.openxmlformats.org/officeDocument/2006/relationships/tags" Target="../tags/tag439.xml"/><Relationship Id="rId17" Type="http://schemas.openxmlformats.org/officeDocument/2006/relationships/image" Target="../media/image1.emf"/><Relationship Id="rId2" Type="http://schemas.openxmlformats.org/officeDocument/2006/relationships/tags" Target="../tags/tag429.xml"/><Relationship Id="rId16" Type="http://schemas.openxmlformats.org/officeDocument/2006/relationships/oleObject" Target="../embeddings/oleObject47.bin"/><Relationship Id="rId1" Type="http://schemas.openxmlformats.org/officeDocument/2006/relationships/vmlDrawing" Target="../drawings/vmlDrawing47.v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5" Type="http://schemas.openxmlformats.org/officeDocument/2006/relationships/tags" Target="../tags/tag432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37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2.emf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oleObject" Target="../embeddings/oleObject6.bin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tags" Target="../tags/tag6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48.xml"/><Relationship Id="rId13" Type="http://schemas.openxmlformats.org/officeDocument/2006/relationships/tags" Target="../tags/tag453.xml"/><Relationship Id="rId18" Type="http://schemas.openxmlformats.org/officeDocument/2006/relationships/image" Target="../media/image1.emf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12" Type="http://schemas.openxmlformats.org/officeDocument/2006/relationships/tags" Target="../tags/tag452.xml"/><Relationship Id="rId17" Type="http://schemas.openxmlformats.org/officeDocument/2006/relationships/oleObject" Target="../embeddings/oleObject48.bin"/><Relationship Id="rId2" Type="http://schemas.openxmlformats.org/officeDocument/2006/relationships/tags" Target="../tags/tag442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48.vml"/><Relationship Id="rId6" Type="http://schemas.openxmlformats.org/officeDocument/2006/relationships/tags" Target="../tags/tag446.xml"/><Relationship Id="rId11" Type="http://schemas.openxmlformats.org/officeDocument/2006/relationships/tags" Target="../tags/tag451.xml"/><Relationship Id="rId5" Type="http://schemas.openxmlformats.org/officeDocument/2006/relationships/tags" Target="../tags/tag445.xml"/><Relationship Id="rId15" Type="http://schemas.openxmlformats.org/officeDocument/2006/relationships/tags" Target="../tags/tag455.xml"/><Relationship Id="rId10" Type="http://schemas.openxmlformats.org/officeDocument/2006/relationships/tags" Target="../tags/tag450.xml"/><Relationship Id="rId4" Type="http://schemas.openxmlformats.org/officeDocument/2006/relationships/tags" Target="../tags/tag444.xml"/><Relationship Id="rId9" Type="http://schemas.openxmlformats.org/officeDocument/2006/relationships/tags" Target="../tags/tag449.xml"/><Relationship Id="rId14" Type="http://schemas.openxmlformats.org/officeDocument/2006/relationships/tags" Target="../tags/tag45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62.xml"/><Relationship Id="rId13" Type="http://schemas.openxmlformats.org/officeDocument/2006/relationships/tags" Target="../tags/tag467.xml"/><Relationship Id="rId18" Type="http://schemas.openxmlformats.org/officeDocument/2006/relationships/image" Target="../media/image7.emf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12" Type="http://schemas.openxmlformats.org/officeDocument/2006/relationships/tags" Target="../tags/tag466.xml"/><Relationship Id="rId17" Type="http://schemas.openxmlformats.org/officeDocument/2006/relationships/oleObject" Target="../embeddings/oleObject49.bin"/><Relationship Id="rId2" Type="http://schemas.openxmlformats.org/officeDocument/2006/relationships/tags" Target="../tags/tag456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49.vml"/><Relationship Id="rId6" Type="http://schemas.openxmlformats.org/officeDocument/2006/relationships/tags" Target="../tags/tag460.xml"/><Relationship Id="rId11" Type="http://schemas.openxmlformats.org/officeDocument/2006/relationships/tags" Target="../tags/tag465.xml"/><Relationship Id="rId5" Type="http://schemas.openxmlformats.org/officeDocument/2006/relationships/tags" Target="../tags/tag459.xml"/><Relationship Id="rId15" Type="http://schemas.openxmlformats.org/officeDocument/2006/relationships/tags" Target="../tags/tag469.xml"/><Relationship Id="rId10" Type="http://schemas.openxmlformats.org/officeDocument/2006/relationships/tags" Target="../tags/tag464.xml"/><Relationship Id="rId4" Type="http://schemas.openxmlformats.org/officeDocument/2006/relationships/tags" Target="../tags/tag458.xml"/><Relationship Id="rId9" Type="http://schemas.openxmlformats.org/officeDocument/2006/relationships/tags" Target="../tags/tag463.xml"/><Relationship Id="rId14" Type="http://schemas.openxmlformats.org/officeDocument/2006/relationships/tags" Target="../tags/tag468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13" Type="http://schemas.openxmlformats.org/officeDocument/2006/relationships/tags" Target="../tags/tag481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tags" Target="../tags/tag480.xml"/><Relationship Id="rId17" Type="http://schemas.openxmlformats.org/officeDocument/2006/relationships/image" Target="../media/image1.emf"/><Relationship Id="rId2" Type="http://schemas.openxmlformats.org/officeDocument/2006/relationships/tags" Target="../tags/tag470.xml"/><Relationship Id="rId16" Type="http://schemas.openxmlformats.org/officeDocument/2006/relationships/oleObject" Target="../embeddings/oleObject50.bin"/><Relationship Id="rId1" Type="http://schemas.openxmlformats.org/officeDocument/2006/relationships/vmlDrawing" Target="../drawings/vmlDrawing50.vml"/><Relationship Id="rId6" Type="http://schemas.openxmlformats.org/officeDocument/2006/relationships/tags" Target="../tags/tag474.xml"/><Relationship Id="rId11" Type="http://schemas.openxmlformats.org/officeDocument/2006/relationships/tags" Target="../tags/tag479.xml"/><Relationship Id="rId5" Type="http://schemas.openxmlformats.org/officeDocument/2006/relationships/tags" Target="../tags/tag473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78.xml"/><Relationship Id="rId4" Type="http://schemas.openxmlformats.org/officeDocument/2006/relationships/tags" Target="../tags/tag472.xml"/><Relationship Id="rId9" Type="http://schemas.openxmlformats.org/officeDocument/2006/relationships/tags" Target="../tags/tag477.xml"/><Relationship Id="rId14" Type="http://schemas.openxmlformats.org/officeDocument/2006/relationships/tags" Target="../tags/tag48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image" Target="../media/image6.emf"/><Relationship Id="rId3" Type="http://schemas.openxmlformats.org/officeDocument/2006/relationships/tags" Target="../tags/tag484.xml"/><Relationship Id="rId7" Type="http://schemas.openxmlformats.org/officeDocument/2006/relationships/tags" Target="../tags/tag488.xml"/><Relationship Id="rId12" Type="http://schemas.openxmlformats.org/officeDocument/2006/relationships/oleObject" Target="../embeddings/oleObject51.bin"/><Relationship Id="rId2" Type="http://schemas.openxmlformats.org/officeDocument/2006/relationships/tags" Target="../tags/tag483.xml"/><Relationship Id="rId1" Type="http://schemas.openxmlformats.org/officeDocument/2006/relationships/vmlDrawing" Target="../drawings/vmlDrawing51.vml"/><Relationship Id="rId6" Type="http://schemas.openxmlformats.org/officeDocument/2006/relationships/tags" Target="../tags/tag48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86.xml"/><Relationship Id="rId10" Type="http://schemas.openxmlformats.org/officeDocument/2006/relationships/tags" Target="../tags/tag491.xml"/><Relationship Id="rId4" Type="http://schemas.openxmlformats.org/officeDocument/2006/relationships/tags" Target="../tags/tag485.xml"/><Relationship Id="rId9" Type="http://schemas.openxmlformats.org/officeDocument/2006/relationships/tags" Target="../tags/tag490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4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92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96.xml"/><Relationship Id="rId5" Type="http://schemas.openxmlformats.org/officeDocument/2006/relationships/tags" Target="../tags/tag495.xml"/><Relationship Id="rId4" Type="http://schemas.openxmlformats.org/officeDocument/2006/relationships/tags" Target="../tags/tag494.xml"/><Relationship Id="rId9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98.xml"/><Relationship Id="rId7" Type="http://schemas.openxmlformats.org/officeDocument/2006/relationships/image" Target="../media/image4.emf"/><Relationship Id="rId2" Type="http://schemas.openxmlformats.org/officeDocument/2006/relationships/tags" Target="../tags/tag497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99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01.xml"/><Relationship Id="rId7" Type="http://schemas.openxmlformats.org/officeDocument/2006/relationships/tags" Target="../tags/tag505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54.vml"/><Relationship Id="rId6" Type="http://schemas.openxmlformats.org/officeDocument/2006/relationships/tags" Target="../tags/tag504.xml"/><Relationship Id="rId5" Type="http://schemas.openxmlformats.org/officeDocument/2006/relationships/tags" Target="../tags/tag503.xml"/><Relationship Id="rId10" Type="http://schemas.openxmlformats.org/officeDocument/2006/relationships/image" Target="../media/image1.emf"/><Relationship Id="rId4" Type="http://schemas.openxmlformats.org/officeDocument/2006/relationships/tags" Target="../tags/tag502.xml"/><Relationship Id="rId9" Type="http://schemas.openxmlformats.org/officeDocument/2006/relationships/oleObject" Target="../embeddings/oleObject54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07.xml"/><Relationship Id="rId7" Type="http://schemas.openxmlformats.org/officeDocument/2006/relationships/tags" Target="../tags/tag511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55.vml"/><Relationship Id="rId6" Type="http://schemas.openxmlformats.org/officeDocument/2006/relationships/tags" Target="../tags/tag510.xml"/><Relationship Id="rId5" Type="http://schemas.openxmlformats.org/officeDocument/2006/relationships/tags" Target="../tags/tag509.xml"/><Relationship Id="rId10" Type="http://schemas.openxmlformats.org/officeDocument/2006/relationships/image" Target="../media/image1.emf"/><Relationship Id="rId4" Type="http://schemas.openxmlformats.org/officeDocument/2006/relationships/tags" Target="../tags/tag508.xml"/><Relationship Id="rId9" Type="http://schemas.openxmlformats.org/officeDocument/2006/relationships/oleObject" Target="../embeddings/oleObject55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56.vml"/><Relationship Id="rId6" Type="http://schemas.openxmlformats.org/officeDocument/2006/relationships/tags" Target="../tags/tag516.xml"/><Relationship Id="rId5" Type="http://schemas.openxmlformats.org/officeDocument/2006/relationships/tags" Target="../tags/tag515.xml"/><Relationship Id="rId10" Type="http://schemas.openxmlformats.org/officeDocument/2006/relationships/image" Target="../media/image2.emf"/><Relationship Id="rId4" Type="http://schemas.openxmlformats.org/officeDocument/2006/relationships/tags" Target="../tags/tag514.xml"/><Relationship Id="rId9" Type="http://schemas.openxmlformats.org/officeDocument/2006/relationships/oleObject" Target="../embeddings/oleObject56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tags" Target="../tags/tag51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57.vml"/><Relationship Id="rId6" Type="http://schemas.openxmlformats.org/officeDocument/2006/relationships/tags" Target="../tags/tag522.xml"/><Relationship Id="rId5" Type="http://schemas.openxmlformats.org/officeDocument/2006/relationships/tags" Target="../tags/tag521.xml"/><Relationship Id="rId4" Type="http://schemas.openxmlformats.org/officeDocument/2006/relationships/tags" Target="../tags/tag520.xml"/><Relationship Id="rId9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image" Target="../media/image2.emf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oleObject" Target="../embeddings/oleObject7.bin"/><Relationship Id="rId2" Type="http://schemas.openxmlformats.org/officeDocument/2006/relationships/tags" Target="../tags/tag65.xml"/><Relationship Id="rId1" Type="http://schemas.openxmlformats.org/officeDocument/2006/relationships/vmlDrawing" Target="../drawings/vmlDrawing7.vml"/><Relationship Id="rId6" Type="http://schemas.openxmlformats.org/officeDocument/2006/relationships/tags" Target="../tags/tag6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3" Type="http://schemas.openxmlformats.org/officeDocument/2006/relationships/tags" Target="../tags/tag524.xml"/><Relationship Id="rId7" Type="http://schemas.openxmlformats.org/officeDocument/2006/relationships/tags" Target="../tags/tag528.xml"/><Relationship Id="rId2" Type="http://schemas.openxmlformats.org/officeDocument/2006/relationships/tags" Target="../tags/tag523.xml"/><Relationship Id="rId1" Type="http://schemas.openxmlformats.org/officeDocument/2006/relationships/vmlDrawing" Target="../drawings/vmlDrawing58.vml"/><Relationship Id="rId6" Type="http://schemas.openxmlformats.org/officeDocument/2006/relationships/tags" Target="../tags/tag527.xml"/><Relationship Id="rId11" Type="http://schemas.openxmlformats.org/officeDocument/2006/relationships/image" Target="../media/image1.emf"/><Relationship Id="rId5" Type="http://schemas.openxmlformats.org/officeDocument/2006/relationships/tags" Target="../tags/tag526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525.xml"/><Relationship Id="rId9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31.xml"/><Relationship Id="rId7" Type="http://schemas.openxmlformats.org/officeDocument/2006/relationships/tags" Target="../tags/tag535.xml"/><Relationship Id="rId2" Type="http://schemas.openxmlformats.org/officeDocument/2006/relationships/tags" Target="../tags/tag530.xml"/><Relationship Id="rId1" Type="http://schemas.openxmlformats.org/officeDocument/2006/relationships/vmlDrawing" Target="../drawings/vmlDrawing59.vml"/><Relationship Id="rId6" Type="http://schemas.openxmlformats.org/officeDocument/2006/relationships/tags" Target="../tags/tag534.xml"/><Relationship Id="rId5" Type="http://schemas.openxmlformats.org/officeDocument/2006/relationships/tags" Target="../tags/tag533.xml"/><Relationship Id="rId10" Type="http://schemas.openxmlformats.org/officeDocument/2006/relationships/image" Target="../media/image1.emf"/><Relationship Id="rId4" Type="http://schemas.openxmlformats.org/officeDocument/2006/relationships/tags" Target="../tags/tag532.xml"/><Relationship Id="rId9" Type="http://schemas.openxmlformats.org/officeDocument/2006/relationships/oleObject" Target="../embeddings/oleObject59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42.xml"/><Relationship Id="rId13" Type="http://schemas.openxmlformats.org/officeDocument/2006/relationships/tags" Target="../tags/tag547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12" Type="http://schemas.openxmlformats.org/officeDocument/2006/relationships/tags" Target="../tags/tag546.xml"/><Relationship Id="rId17" Type="http://schemas.openxmlformats.org/officeDocument/2006/relationships/image" Target="../media/image2.emf"/><Relationship Id="rId2" Type="http://schemas.openxmlformats.org/officeDocument/2006/relationships/tags" Target="../tags/tag536.xml"/><Relationship Id="rId16" Type="http://schemas.openxmlformats.org/officeDocument/2006/relationships/oleObject" Target="../embeddings/oleObject60.bin"/><Relationship Id="rId1" Type="http://schemas.openxmlformats.org/officeDocument/2006/relationships/vmlDrawing" Target="../drawings/vmlDrawing60.vml"/><Relationship Id="rId6" Type="http://schemas.openxmlformats.org/officeDocument/2006/relationships/tags" Target="../tags/tag540.xml"/><Relationship Id="rId11" Type="http://schemas.openxmlformats.org/officeDocument/2006/relationships/tags" Target="../tags/tag545.xml"/><Relationship Id="rId5" Type="http://schemas.openxmlformats.org/officeDocument/2006/relationships/tags" Target="../tags/tag53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544.xml"/><Relationship Id="rId4" Type="http://schemas.openxmlformats.org/officeDocument/2006/relationships/tags" Target="../tags/tag538.xml"/><Relationship Id="rId9" Type="http://schemas.openxmlformats.org/officeDocument/2006/relationships/tags" Target="../tags/tag543.xml"/><Relationship Id="rId14" Type="http://schemas.openxmlformats.org/officeDocument/2006/relationships/tags" Target="../tags/tag548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2.emf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oleObject" Target="../embeddings/oleObject8.bin"/><Relationship Id="rId2" Type="http://schemas.openxmlformats.org/officeDocument/2006/relationships/tags" Target="../tags/tag74.xml"/><Relationship Id="rId1" Type="http://schemas.openxmlformats.org/officeDocument/2006/relationships/vmlDrawing" Target="../drawings/vmlDrawing8.vml"/><Relationship Id="rId6" Type="http://schemas.openxmlformats.org/officeDocument/2006/relationships/tags" Target="../tags/tag7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2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oleObject" Target="../embeddings/oleObject9.bin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8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180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3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8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381376" y="8703649"/>
            <a:ext cx="3881438" cy="1461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950">
                <a:solidFill>
                  <a:schemeClr val="tx1"/>
                </a:solidFill>
              </a:defRPr>
            </a:lvl1pPr>
            <a:lvl2pPr marL="73879" indent="0">
              <a:buNone/>
              <a:defRPr>
                <a:solidFill>
                  <a:schemeClr val="bg1"/>
                </a:solidFill>
              </a:defRPr>
            </a:lvl2pPr>
            <a:lvl3pPr marL="297294" indent="0">
              <a:buNone/>
              <a:defRPr>
                <a:solidFill>
                  <a:schemeClr val="bg1"/>
                </a:solidFill>
              </a:defRPr>
            </a:lvl3pPr>
            <a:lvl4pPr marL="518808" indent="0">
              <a:buNone/>
              <a:defRPr>
                <a:solidFill>
                  <a:schemeClr val="bg1"/>
                </a:solidFill>
              </a:defRPr>
            </a:lvl4pPr>
            <a:lvl5pPr marL="7403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381376" y="8064617"/>
            <a:ext cx="3881438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nullam</a:t>
            </a:r>
            <a:r>
              <a:rPr lang="en-US" dirty="0"/>
              <a:t> </a:t>
            </a:r>
            <a:r>
              <a:rPr lang="en-US" dirty="0" err="1"/>
              <a:t>rutrum</a:t>
            </a:r>
            <a:r>
              <a:rPr lang="en-US" dirty="0"/>
              <a:t> tempus.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81376" y="6737529"/>
            <a:ext cx="3881438" cy="116955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38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ver two lines</a:t>
            </a:r>
          </a:p>
        </p:txBody>
      </p:sp>
      <p:sp>
        <p:nvSpPr>
          <p:cNvPr id="24" name="Eyebrow">
            <a:extLst>
              <a:ext uri="{FF2B5EF4-FFF2-40B4-BE49-F238E27FC236}">
                <a16:creationId xmlns:a16="http://schemas.microsoft.com/office/drawing/2014/main" id="{161545DF-68D4-4ABB-98EC-D45F584BBB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1376" y="6517903"/>
            <a:ext cx="3881438" cy="157163"/>
          </a:xfrm>
        </p:spPr>
        <p:txBody>
          <a:bodyPr wrap="square">
            <a:spAutoFit/>
          </a:bodyPr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yebrow</a:t>
            </a:r>
            <a:endParaRPr lang="es-AR" dirty="0"/>
          </a:p>
        </p:txBody>
      </p:sp>
      <p:grpSp>
        <p:nvGrpSpPr>
          <p:cNvPr id="17" name="LogoTitle">
            <a:extLst>
              <a:ext uri="{FF2B5EF4-FFF2-40B4-BE49-F238E27FC236}">
                <a16:creationId xmlns:a16="http://schemas.microsoft.com/office/drawing/2014/main" id="{E4AD56E2-DA0F-4F98-8531-3FF7847B7E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04825" y="503238"/>
            <a:ext cx="2216719" cy="685006"/>
            <a:chOff x="0" y="0"/>
            <a:chExt cx="7683" cy="2375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D34C03C5-01F2-4A79-A5DF-B78F40E0C57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0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5A0E8842-DA7D-4B34-9D13-8E95FB83A74E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0" y="1"/>
              <a:ext cx="7683" cy="2374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A6E8310-D24E-464B-A718-695FEF268A0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448"/>
            <a:ext cx="7772400" cy="10057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50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6008">
          <p15:clr>
            <a:srgbClr val="FBAE40"/>
          </p15:clr>
        </p15:guide>
        <p15:guide id="4" pos="588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0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9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39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516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5CE4A105-45B1-4514-B180-98C7ECB647F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4048819"/>
            <a:ext cx="6756400" cy="2154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divider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345B8A-84AF-455D-BC29-F5A41DEF5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3520990"/>
            <a:ext cx="6756400" cy="369332"/>
          </a:xfrm>
        </p:spPr>
        <p:txBody>
          <a:bodyPr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8909743-5A79-4E09-B621-490FE40E4879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85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53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4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5CE4A105-45B1-4514-B180-98C7ECB647F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2390081"/>
            <a:ext cx="6756400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CC0B687-B935-448A-BDAC-7792B7560F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2122403"/>
            <a:ext cx="6756400" cy="153888"/>
          </a:xfrm>
        </p:spPr>
        <p:txBody>
          <a:bodyPr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6DED83D-DBCE-420D-B3CD-E3D0F2131B2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209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litator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38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7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AC43A8-F3FE-4ECF-9074-DE657FB381A3}"/>
              </a:ext>
            </a:extLst>
          </p:cNvPr>
          <p:cNvSpPr/>
          <p:nvPr userDrawn="1"/>
        </p:nvSpPr>
        <p:spPr>
          <a:xfrm>
            <a:off x="0" y="4959000"/>
            <a:ext cx="7772400" cy="5099400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AR" sz="1600" dirty="0">
              <a:solidFill>
                <a:schemeClr val="bg1"/>
              </a:solidFill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1251045"/>
            <a:ext cx="2146300" cy="3458327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1251045"/>
            <a:ext cx="2146300" cy="3458327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1251045"/>
            <a:ext cx="2146300" cy="3458327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17E62A1C-F1E2-4864-940D-513D00D928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999" y="5549899"/>
            <a:ext cx="4449763" cy="371656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9203A58D-20A2-4667-80B1-AC79356F39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08574" y="5549899"/>
            <a:ext cx="2146300" cy="371656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59" name="2. Slide Title">
            <a:extLst>
              <a:ext uri="{FF2B5EF4-FFF2-40B4-BE49-F238E27FC236}">
                <a16:creationId xmlns:a16="http://schemas.microsoft.com/office/drawing/2014/main" id="{C5744058-6075-4D71-AA9F-8D3197E2650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25FD32B9-323F-4F61-B97A-3A1AE6B432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999" y="5214139"/>
            <a:ext cx="6746875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  <a:lvl2pPr marL="2025" indent="0"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>
              <a:defRPr sz="1200" b="1">
                <a:solidFill>
                  <a:schemeClr val="tx1"/>
                </a:solidFill>
                <a:latin typeface="+mj-lt"/>
              </a:defRPr>
            </a:lvl3pPr>
            <a:lvl4pPr>
              <a:defRPr sz="1200" b="1">
                <a:solidFill>
                  <a:schemeClr val="tx1"/>
                </a:solidFill>
                <a:latin typeface="+mj-lt"/>
              </a:defRPr>
            </a:lvl4pPr>
            <a:lvl5pPr>
              <a:defRPr sz="1200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F4A5BEEA-BFBD-414C-8102-9DEBEFD266D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14" name="Sticker" hidden="1">
            <a:extLst>
              <a:ext uri="{FF2B5EF4-FFF2-40B4-BE49-F238E27FC236}">
                <a16:creationId xmlns:a16="http://schemas.microsoft.com/office/drawing/2014/main" id="{DD1FBD25-5B4F-48C3-93A4-B40F25EF0EB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1032838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5" name="1. On-page tracker" hidden="1">
            <a:extLst>
              <a:ext uri="{FF2B5EF4-FFF2-40B4-BE49-F238E27FC236}">
                <a16:creationId xmlns:a16="http://schemas.microsoft.com/office/drawing/2014/main" id="{37945C68-1FBF-4C02-BD4B-7831FAE0F3B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83B6DD8B-5591-4BC9-A983-A2A98B94D30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FFEE98D6-5C83-4704-B21A-B1CAF6B4B76C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781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40" userDrawn="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198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95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E862596-C3F2-480E-8ECA-B09F3185A84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0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F3BD0-0965-4223-A72D-FDBC807E0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5B8B3-C4AD-439E-A70F-D201036322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66327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52757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2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/>
          <a:p>
            <a:r>
              <a:rPr lang="en-US" sz="1020"/>
              <a:t>Click to edit Master subtitle style</a:t>
            </a:r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6566772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3644" y="256918"/>
            <a:ext cx="7065112" cy="14512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08702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712957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176272" y="0"/>
            <a:ext cx="5596128" cy="100584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53644" y="9465528"/>
            <a:ext cx="160305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2368795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368795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160305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1603058" cy="112851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8"/>
            <a:ext cx="160305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bg2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0625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4562399" y="182042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16762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17402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0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5829" y="1311"/>
            <a:ext cx="7772400" cy="10055779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351863" y="705701"/>
            <a:ext cx="1206916" cy="858317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351863" y="7309903"/>
            <a:ext cx="1212494" cy="142158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6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353644" y="6614913"/>
            <a:ext cx="3835679" cy="31598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893">
                <a:solidFill>
                  <a:schemeClr val="tx1"/>
                </a:solidFill>
              </a:defRPr>
            </a:lvl1pPr>
            <a:lvl2pPr marL="73879" indent="0">
              <a:buNone/>
              <a:defRPr>
                <a:solidFill>
                  <a:schemeClr val="bg1"/>
                </a:solidFill>
              </a:defRPr>
            </a:lvl2pPr>
            <a:lvl3pPr marL="297294" indent="0">
              <a:buNone/>
              <a:defRPr>
                <a:solidFill>
                  <a:schemeClr val="bg1"/>
                </a:solidFill>
              </a:defRPr>
            </a:lvl3pPr>
            <a:lvl4pPr marL="518808" indent="0">
              <a:buNone/>
              <a:defRPr>
                <a:solidFill>
                  <a:schemeClr val="bg1"/>
                </a:solidFill>
              </a:defRPr>
            </a:lvl4pPr>
            <a:lvl5pPr marL="7403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51863" y="6002421"/>
            <a:ext cx="3835679" cy="4514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275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1863" y="3006381"/>
            <a:ext cx="3835679" cy="281850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351863" y="9079382"/>
            <a:ext cx="2623185" cy="52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510" dirty="0">
                <a:solidFill>
                  <a:schemeClr val="tx1"/>
                </a:solidFill>
                <a:latin typeface="+mn-lt"/>
              </a:rPr>
            </a:br>
            <a:r>
              <a:rPr lang="en-US" sz="51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371622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bas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01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2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495300"/>
            <a:ext cx="6756400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4. Footnote" hidden="1">
            <a:extLst>
              <a:ext uri="{FF2B5EF4-FFF2-40B4-BE49-F238E27FC236}">
                <a16:creationId xmlns:a16="http://schemas.microsoft.com/office/drawing/2014/main" id="{C7E2E24B-F155-4563-8FD1-B85D67F0FA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11" name="Sticker" hidden="1">
            <a:extLst>
              <a:ext uri="{FF2B5EF4-FFF2-40B4-BE49-F238E27FC236}">
                <a16:creationId xmlns:a16="http://schemas.microsoft.com/office/drawing/2014/main" id="{CC45154F-AE00-40D4-B9B4-8C62E924824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1307507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2" name="1. On-page tracker" hidden="1">
            <a:extLst>
              <a:ext uri="{FF2B5EF4-FFF2-40B4-BE49-F238E27FC236}">
                <a16:creationId xmlns:a16="http://schemas.microsoft.com/office/drawing/2014/main" id="{52CF9278-E8CB-4E35-B0D6-08EBD200027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2C471A0E-28A1-42CD-AEA6-BFEAE7AABCF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9BA4884-6995-4C3E-8F8D-B1E3869D5B3C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842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 userDrawn="1">
          <p15:clr>
            <a:srgbClr val="FBAE40"/>
          </p15:clr>
        </p15:guide>
        <p15:guide id="3" orient="horz" pos="5837" userDrawn="1">
          <p15:clr>
            <a:srgbClr val="FBAE40"/>
          </p15:clr>
        </p15:guide>
        <p15:guide id="4" pos="585" userDrawn="1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49542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67479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353644" y="1325664"/>
            <a:ext cx="706511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73287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3B2210-F974-497D-92AF-C83F0E919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20060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18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3B2210-F974-497D-92AF-C83F0E919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36CD3B0-BC74-4FA8-ACD8-6B034078A8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02959"/>
            <a:ext cx="2430818" cy="101925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41326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AED499-9260-4F17-817F-91D3EE05F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2872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2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AED499-9260-4F17-817F-91D3EE05F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058B-21F1-4CA5-9E1E-B38643270B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4464945"/>
            <a:ext cx="3229432" cy="1128513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290705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51965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66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6718020"/>
            <a:ext cx="7065112" cy="993092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28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90058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79127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90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168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59892" y="5672914"/>
            <a:ext cx="5852617" cy="31027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168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59892" y="6284125"/>
            <a:ext cx="5852617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4668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041610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176272" y="0"/>
            <a:ext cx="5596128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368795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368795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1603058" cy="112851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8"/>
            <a:ext cx="160305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99292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377225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3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782519" y="0"/>
            <a:ext cx="4989881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977902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977902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2209305" cy="112851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9"/>
            <a:ext cx="2209304" cy="156966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01282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35451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6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533624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48189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86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991824" y="0"/>
            <a:ext cx="2780576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1052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1052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441927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4441927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4441927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5210524" y="166567"/>
            <a:ext cx="2210175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59042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91689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9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598153" y="0"/>
            <a:ext cx="2174247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48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7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389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57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389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7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13911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53644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813911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51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5813911" y="166567"/>
            <a:ext cx="1606788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5048174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5048174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8477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37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1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1198275"/>
            <a:ext cx="2146300" cy="233614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1198275"/>
            <a:ext cx="2146300" cy="233614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1198275"/>
            <a:ext cx="2146300" cy="233614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D7E8DB9-63B0-4AAC-8DAE-6F81D0383EF4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F867D5B-F6F3-47A8-BDD8-5DC0FD833DF6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6666C4E-25B0-45BF-BD33-B38D27395856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6C7C2D7-7507-4C11-88DA-AE5316C81D9C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7D5A739-DB0F-4860-AB73-73DDA944C4E0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4910353-5996-4389-BCBA-AFCC11DB5F07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FC6863C-1414-4C36-81B7-86C75DC7372C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222849-D3A5-4E87-94E0-574C2467D3F4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6CF33B9-5775-4277-92F5-8E98F62C2A98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92D36CE-FCC0-4ED1-BCA2-C269A4879CB2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06D353B-A705-456F-9EC2-4E4DC58538EC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A6CA11F-EFD7-443B-9EFF-D21AC84A6B67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B2DD7F6-B03D-444D-915D-304B1A45E772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CB10165-599E-463B-8801-34535992FD59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 hidden="1">
            <a:extLst>
              <a:ext uri="{FF2B5EF4-FFF2-40B4-BE49-F238E27FC236}">
                <a16:creationId xmlns:a16="http://schemas.microsoft.com/office/drawing/2014/main" id="{14834DF4-D58E-4D53-ACBD-5BC0412A189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24" name="Sticker" hidden="1">
            <a:extLst>
              <a:ext uri="{FF2B5EF4-FFF2-40B4-BE49-F238E27FC236}">
                <a16:creationId xmlns:a16="http://schemas.microsoft.com/office/drawing/2014/main" id="{81B2BFF0-0AC2-42A8-809D-CA1FDD724EC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7" name="1. On-page tracker" hidden="1">
            <a:extLst>
              <a:ext uri="{FF2B5EF4-FFF2-40B4-BE49-F238E27FC236}">
                <a16:creationId xmlns:a16="http://schemas.microsoft.com/office/drawing/2014/main" id="{82EDFA89-DCCB-45F2-A395-8A7AD5D319F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29" name="5. Source" hidden="1">
            <a:extLst>
              <a:ext uri="{FF2B5EF4-FFF2-40B4-BE49-F238E27FC236}">
                <a16:creationId xmlns:a16="http://schemas.microsoft.com/office/drawing/2014/main" id="{03C885C6-FD3C-4ACB-BF34-A3BEBD814ADF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BAA3B7FE-E606-479C-A375-47A53397EF4E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495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4F5A10-8EF4-4D39-A791-E619288F9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62240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34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4F5A10-8EF4-4D39-A791-E619288F9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F620F4-E1DA-421B-9F74-3B9D41A40F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3644" y="256918"/>
            <a:ext cx="7065112" cy="14512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242229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C5D3EF-32CA-4434-8205-FB9DB4546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37582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58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C5D3EF-32CA-4434-8205-FB9DB4546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359824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09690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82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7772400" cy="100584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350160" y="705701"/>
            <a:ext cx="1206916" cy="858317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341966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086341"/>
              </p:ext>
            </p:extLst>
          </p:nvPr>
        </p:nvGraphicFramePr>
        <p:xfrm>
          <a:off x="1013" y="2330"/>
          <a:ext cx="1012" cy="23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06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30"/>
                        <a:ext cx="1012" cy="23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01203" cy="232832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6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7" y="252579"/>
            <a:ext cx="7065112" cy="175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6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7" y="868141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6" y="9617518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624761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5557530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30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482145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46D67E-3EB1-41FA-AEFB-C6169FDCE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127932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5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46D67E-3EB1-41FA-AEFB-C6169FDCE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7A9879-40E6-449C-B5A9-EACF631F0D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965" b="0" i="1" baseline="0" dirty="0">
              <a:solidFill>
                <a:schemeClr val="bg1"/>
              </a:solidFill>
              <a:latin typeface="Georgia" panose="02040502050405020303" pitchFamily="18" charset="0"/>
              <a:ea typeface="Arial Unicode MS" panose="020B0604020202020204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E73A245-B425-4731-8157-87A2026AAFE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53645" y="1480064"/>
            <a:ext cx="7065112" cy="22813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35618D8-75FC-4E6C-AAA3-0824BE591D0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3"/>
            <a:ext cx="4639637" cy="3539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77"/>
              </a:spcBef>
              <a:spcAft>
                <a:spcPts val="77"/>
              </a:spcAft>
              <a:buNone/>
            </a:pPr>
            <a:r>
              <a:rPr lang="en-US" sz="23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7203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34962C-5319-4953-88B0-090A10CE90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572745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78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34962C-5319-4953-88B0-090A10CE9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4"/>
            <a:ext cx="4639637" cy="314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4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2399" y="205575"/>
            <a:ext cx="2856357" cy="31419"/>
          </a:xfrm>
        </p:spPr>
        <p:txBody>
          <a:bodyPr anchor="ctr" anchorCtr="0">
            <a:spAutoFit/>
          </a:bodyPr>
          <a:lstStyle>
            <a:lvl1pPr algn="r">
              <a:defRPr sz="204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628506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35125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0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2578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4" y="1297597"/>
            <a:ext cx="7065112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148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2399" y="182042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8201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36171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26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08202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97D16441-3E4D-412C-96A0-40BDFF1C8BE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096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w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11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8688" y="1913223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3C3D8495-16E7-49BE-B8B9-481EC215A57B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928688" y="2157822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8DF3921-1F1C-47D5-AC33-6BE9FD6D86AD}"/>
              </a:ext>
            </a:extLst>
          </p:cNvPr>
          <p:cNvGrpSpPr/>
          <p:nvPr userDrawn="1"/>
        </p:nvGrpSpPr>
        <p:grpSpPr>
          <a:xfrm>
            <a:off x="2816225" y="2119371"/>
            <a:ext cx="4446588" cy="961781"/>
            <a:chOff x="2816225" y="1992785"/>
            <a:chExt cx="4446588" cy="96178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31395B3-0D12-47E0-8DAC-8F0E7F662EDE}"/>
                </a:ext>
              </a:extLst>
            </p:cNvPr>
            <p:cNvCxnSpPr/>
            <p:nvPr userDrawn="1"/>
          </p:nvCxnSpPr>
          <p:spPr>
            <a:xfrm>
              <a:off x="2816225" y="2633972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EBBD74D-611C-429D-991A-8184B76229BF}"/>
                </a:ext>
              </a:extLst>
            </p:cNvPr>
            <p:cNvCxnSpPr/>
            <p:nvPr userDrawn="1"/>
          </p:nvCxnSpPr>
          <p:spPr>
            <a:xfrm>
              <a:off x="2816225" y="2954566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53931E6-294C-4DE9-ADDE-D080B361C7AF}"/>
                </a:ext>
              </a:extLst>
            </p:cNvPr>
            <p:cNvCxnSpPr/>
            <p:nvPr userDrawn="1"/>
          </p:nvCxnSpPr>
          <p:spPr>
            <a:xfrm>
              <a:off x="2816225" y="2313379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4D9CE1C-77DB-45DB-83EC-5AD6E5B37446}"/>
                </a:ext>
              </a:extLst>
            </p:cNvPr>
            <p:cNvCxnSpPr/>
            <p:nvPr userDrawn="1"/>
          </p:nvCxnSpPr>
          <p:spPr>
            <a:xfrm>
              <a:off x="2816225" y="1992785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95E67C4B-3BCD-40D0-BF8A-F395E7AC765F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2816225" y="1198275"/>
            <a:ext cx="4446588" cy="184666"/>
          </a:xfrm>
        </p:spPr>
        <p:txBody>
          <a:bodyPr>
            <a:no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7177D8D-2444-47E5-B9A4-8B11840E6F63}"/>
              </a:ext>
            </a:extLst>
          </p:cNvPr>
          <p:cNvGrpSpPr/>
          <p:nvPr userDrawn="1"/>
        </p:nvGrpSpPr>
        <p:grpSpPr>
          <a:xfrm>
            <a:off x="2816225" y="4181067"/>
            <a:ext cx="4446588" cy="961781"/>
            <a:chOff x="2816225" y="3991939"/>
            <a:chExt cx="4446588" cy="961781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34D8F6A6-40CF-4DFC-A329-294CDF2F0315}"/>
                </a:ext>
              </a:extLst>
            </p:cNvPr>
            <p:cNvCxnSpPr/>
            <p:nvPr userDrawn="1"/>
          </p:nvCxnSpPr>
          <p:spPr>
            <a:xfrm>
              <a:off x="2816225" y="4633126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7F428D33-A18A-4F4D-9E7C-498A6A3F1FD1}"/>
                </a:ext>
              </a:extLst>
            </p:cNvPr>
            <p:cNvCxnSpPr/>
            <p:nvPr userDrawn="1"/>
          </p:nvCxnSpPr>
          <p:spPr>
            <a:xfrm>
              <a:off x="2816225" y="4953720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EA35292-76A9-4522-A0F4-04792A9B8DDA}"/>
                </a:ext>
              </a:extLst>
            </p:cNvPr>
            <p:cNvCxnSpPr/>
            <p:nvPr userDrawn="1"/>
          </p:nvCxnSpPr>
          <p:spPr>
            <a:xfrm>
              <a:off x="2816225" y="4312533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657DEBD-EB1B-45D6-9137-B4A7076B8B56}"/>
                </a:ext>
              </a:extLst>
            </p:cNvPr>
            <p:cNvCxnSpPr/>
            <p:nvPr userDrawn="1"/>
          </p:nvCxnSpPr>
          <p:spPr>
            <a:xfrm>
              <a:off x="2816225" y="3991939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140766D-3AA6-4E33-9073-A2375CC5C0DF}"/>
              </a:ext>
            </a:extLst>
          </p:cNvPr>
          <p:cNvGrpSpPr/>
          <p:nvPr userDrawn="1"/>
        </p:nvGrpSpPr>
        <p:grpSpPr>
          <a:xfrm>
            <a:off x="2816225" y="6242763"/>
            <a:ext cx="4446588" cy="961781"/>
            <a:chOff x="2816225" y="5991093"/>
            <a:chExt cx="4446588" cy="96178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2D0A8BA-9D48-4BE5-ABDF-6C49C071144B}"/>
                </a:ext>
              </a:extLst>
            </p:cNvPr>
            <p:cNvCxnSpPr/>
            <p:nvPr userDrawn="1"/>
          </p:nvCxnSpPr>
          <p:spPr>
            <a:xfrm>
              <a:off x="2816225" y="6632280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4FF548A-5D6D-4A51-ADB8-330BD5604F65}"/>
                </a:ext>
              </a:extLst>
            </p:cNvPr>
            <p:cNvCxnSpPr/>
            <p:nvPr userDrawn="1"/>
          </p:nvCxnSpPr>
          <p:spPr>
            <a:xfrm>
              <a:off x="2816225" y="6952874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08D7150-0AFE-47C3-986D-BCD00A5AEB67}"/>
                </a:ext>
              </a:extLst>
            </p:cNvPr>
            <p:cNvCxnSpPr/>
            <p:nvPr userDrawn="1"/>
          </p:nvCxnSpPr>
          <p:spPr>
            <a:xfrm>
              <a:off x="2816225" y="6311687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E79679C-6581-47CC-84E6-4537C5119DE1}"/>
                </a:ext>
              </a:extLst>
            </p:cNvPr>
            <p:cNvCxnSpPr/>
            <p:nvPr userDrawn="1"/>
          </p:nvCxnSpPr>
          <p:spPr>
            <a:xfrm>
              <a:off x="2816225" y="5991093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DA975D-6A48-440B-A066-3CFCE3E4286D}"/>
              </a:ext>
            </a:extLst>
          </p:cNvPr>
          <p:cNvGrpSpPr/>
          <p:nvPr userDrawn="1"/>
        </p:nvGrpSpPr>
        <p:grpSpPr>
          <a:xfrm>
            <a:off x="2816225" y="8309692"/>
            <a:ext cx="4446588" cy="961781"/>
            <a:chOff x="2816225" y="8309692"/>
            <a:chExt cx="4446588" cy="96178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B62B75EA-6318-4329-BFE7-F9AC16F0C8C6}"/>
                </a:ext>
              </a:extLst>
            </p:cNvPr>
            <p:cNvCxnSpPr/>
            <p:nvPr userDrawn="1"/>
          </p:nvCxnSpPr>
          <p:spPr>
            <a:xfrm>
              <a:off x="2816225" y="8950879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BD497BF-C1F5-42D9-975B-586FD1EC5337}"/>
                </a:ext>
              </a:extLst>
            </p:cNvPr>
            <p:cNvCxnSpPr/>
            <p:nvPr userDrawn="1"/>
          </p:nvCxnSpPr>
          <p:spPr>
            <a:xfrm>
              <a:off x="2816225" y="9271473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C0541C8A-501E-4E74-8325-7461BDD7E4D0}"/>
                </a:ext>
              </a:extLst>
            </p:cNvPr>
            <p:cNvCxnSpPr/>
            <p:nvPr userDrawn="1"/>
          </p:nvCxnSpPr>
          <p:spPr>
            <a:xfrm>
              <a:off x="2816225" y="8630286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0CE98424-EDD5-4306-8F12-61316411ED17}"/>
                </a:ext>
              </a:extLst>
            </p:cNvPr>
            <p:cNvCxnSpPr/>
            <p:nvPr userDrawn="1"/>
          </p:nvCxnSpPr>
          <p:spPr>
            <a:xfrm>
              <a:off x="2816225" y="8309692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85A7A284-0889-4B83-AB54-D4FCAE62EFB4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928688" y="3974919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57433B0D-28C3-4CFE-9787-D705394C015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928688" y="4219518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1A40B3CA-5BAD-4F45-90E0-F0C5CCE54538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28688" y="6036615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BC549039-9603-4649-A7D6-8A310389160B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928688" y="6281214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88" name="Text Placeholder 4">
            <a:extLst>
              <a:ext uri="{FF2B5EF4-FFF2-40B4-BE49-F238E27FC236}">
                <a16:creationId xmlns:a16="http://schemas.microsoft.com/office/drawing/2014/main" id="{62976143-36BE-4052-B927-FCDA8E2477E3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928688" y="8098311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C5C5D6E8-73BA-4BDB-9728-888BB9C47275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928688" y="8348143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35" name="4. Footnote" hidden="1">
            <a:extLst>
              <a:ext uri="{FF2B5EF4-FFF2-40B4-BE49-F238E27FC236}">
                <a16:creationId xmlns:a16="http://schemas.microsoft.com/office/drawing/2014/main" id="{F32911EF-B61C-4AFE-87B0-619EE093133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36" name="Sticker" hidden="1">
            <a:extLst>
              <a:ext uri="{FF2B5EF4-FFF2-40B4-BE49-F238E27FC236}">
                <a16:creationId xmlns:a16="http://schemas.microsoft.com/office/drawing/2014/main" id="{30EEB456-040E-4E91-859C-6CD7A747413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38" name="1. On-page tracker" hidden="1">
            <a:extLst>
              <a:ext uri="{FF2B5EF4-FFF2-40B4-BE49-F238E27FC236}">
                <a16:creationId xmlns:a16="http://schemas.microsoft.com/office/drawing/2014/main" id="{B148FA6F-9FDD-42F7-8C6B-EBB237BBF73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39" name="5. Source" hidden="1">
            <a:extLst>
              <a:ext uri="{FF2B5EF4-FFF2-40B4-BE49-F238E27FC236}">
                <a16:creationId xmlns:a16="http://schemas.microsoft.com/office/drawing/2014/main" id="{0D031589-025B-46D4-831B-2988C893D502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40" name="Slide Number">
            <a:extLst>
              <a:ext uri="{FF2B5EF4-FFF2-40B4-BE49-F238E27FC236}">
                <a16:creationId xmlns:a16="http://schemas.microsoft.com/office/drawing/2014/main" id="{5D52E737-0C3A-41A7-9829-352E4A228E07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629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 userDrawn="1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40" userDrawn="1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096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84B6CC1D-7067-4916-9062-3287E7A0921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9265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09252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02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136427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70411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98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5829" y="1311"/>
            <a:ext cx="7772400" cy="10055779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351863" y="705701"/>
            <a:ext cx="1206916" cy="858317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351863" y="7309903"/>
            <a:ext cx="1212494" cy="142158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6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353644" y="6614913"/>
            <a:ext cx="3835679" cy="31598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893">
                <a:solidFill>
                  <a:schemeClr val="tx1"/>
                </a:solidFill>
              </a:defRPr>
            </a:lvl1pPr>
            <a:lvl2pPr marL="73879" indent="0">
              <a:buNone/>
              <a:defRPr>
                <a:solidFill>
                  <a:schemeClr val="bg1"/>
                </a:solidFill>
              </a:defRPr>
            </a:lvl2pPr>
            <a:lvl3pPr marL="297294" indent="0">
              <a:buNone/>
              <a:defRPr>
                <a:solidFill>
                  <a:schemeClr val="bg1"/>
                </a:solidFill>
              </a:defRPr>
            </a:lvl3pPr>
            <a:lvl4pPr marL="518808" indent="0">
              <a:buNone/>
              <a:defRPr>
                <a:solidFill>
                  <a:schemeClr val="bg1"/>
                </a:solidFill>
              </a:defRPr>
            </a:lvl4pPr>
            <a:lvl5pPr marL="7403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51863" y="6002421"/>
            <a:ext cx="3835679" cy="4514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275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1863" y="3006381"/>
            <a:ext cx="3835679" cy="281850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351863" y="9079382"/>
            <a:ext cx="2623185" cy="52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510" dirty="0">
                <a:solidFill>
                  <a:schemeClr val="tx1"/>
                </a:solidFill>
                <a:latin typeface="+mn-lt"/>
              </a:rPr>
            </a:br>
            <a:r>
              <a:rPr lang="en-US" sz="51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740799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573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2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67479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353644" y="1325664"/>
            <a:ext cx="706511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312399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3B2210-F974-497D-92AF-C83F0E919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83975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46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3B2210-F974-497D-92AF-C83F0E919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36CD3B0-BC74-4FA8-ACD8-6B034078A8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02959"/>
            <a:ext cx="2430818" cy="101925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987524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AED499-9260-4F17-817F-91D3EE05F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1077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70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AED499-9260-4F17-817F-91D3EE05F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058B-21F1-4CA5-9E1E-B38643270B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4464945"/>
            <a:ext cx="3229432" cy="1128513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312785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4539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94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6718020"/>
            <a:ext cx="7065112" cy="993092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28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413603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8573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18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168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59892" y="5672914"/>
            <a:ext cx="5852617" cy="31027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168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59892" y="6284125"/>
            <a:ext cx="5852617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313000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4004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4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176272" y="0"/>
            <a:ext cx="5596128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368795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368795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1603058" cy="112851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8"/>
            <a:ext cx="160305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44132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39965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782519" y="0"/>
            <a:ext cx="4989881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977902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977902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2209305" cy="112851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9"/>
            <a:ext cx="2209304" cy="156966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19689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00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61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1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846635"/>
            <a:ext cx="2146300" cy="2687773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503238"/>
            <a:ext cx="2146300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35702E3-0315-4FB1-951B-E8D214C16AFB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9579DFE-84B7-4397-B112-9587E6AC00DC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F3DDE43-6594-4C3E-B62C-63568296B91A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280715D-9DB7-47CF-A3A0-40E30883EB6A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A7E5B86-62BB-4467-A476-B7C611CB103E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0735CD-67C5-4EE0-B51C-B274A2B4E057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12B85FE-E6BA-4023-81D2-673F4C5B7664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3A88124-900C-45D6-978D-B32766B038CF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97483E-B561-4900-BCD8-62A049C2ED9B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C4397BD-0EC0-45D8-A8EC-45C8D16E54CA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F383806-F398-4BB0-9A2E-CCDAA9B6E894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F3B4FF9-AA0F-40E5-BF2C-E899BDA47C97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0B3B8C5-598C-45D1-BE9B-2AB8B85D1BF8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9B5A235-5BA9-4EFD-A951-7FB831997867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 hidden="1">
            <a:extLst>
              <a:ext uri="{FF2B5EF4-FFF2-40B4-BE49-F238E27FC236}">
                <a16:creationId xmlns:a16="http://schemas.microsoft.com/office/drawing/2014/main" id="{825A77D5-AB73-400C-9468-81B4A48DBE6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24" name="Sticker" hidden="1">
            <a:extLst>
              <a:ext uri="{FF2B5EF4-FFF2-40B4-BE49-F238E27FC236}">
                <a16:creationId xmlns:a16="http://schemas.microsoft.com/office/drawing/2014/main" id="{11B46B8D-DE00-4CF9-9889-BA07141BE9A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786887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7" name="1. On-page tracker" hidden="1">
            <a:extLst>
              <a:ext uri="{FF2B5EF4-FFF2-40B4-BE49-F238E27FC236}">
                <a16:creationId xmlns:a16="http://schemas.microsoft.com/office/drawing/2014/main" id="{5DF4E75B-E3BD-4281-BA4D-38C5E264C86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29" name="5. Source" hidden="1">
            <a:extLst>
              <a:ext uri="{FF2B5EF4-FFF2-40B4-BE49-F238E27FC236}">
                <a16:creationId xmlns:a16="http://schemas.microsoft.com/office/drawing/2014/main" id="{176E34A0-2BA5-4BEA-AF44-E1BC879148C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A0286047-C851-4754-A988-4113C6371B7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371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2706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0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382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50506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14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991824" y="0"/>
            <a:ext cx="2780576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1052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1052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441927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4441927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4441927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5210524" y="166567"/>
            <a:ext cx="2210175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511761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605290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3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9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598153" y="0"/>
            <a:ext cx="2174247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48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7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389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57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389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7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13911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53644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813911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51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5813911" y="166567"/>
            <a:ext cx="1606788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5048174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5048174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313635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4F5A10-8EF4-4D39-A791-E619288F9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007685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62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4F5A10-8EF4-4D39-A791-E619288F9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F620F4-E1DA-421B-9F74-3B9D41A40F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3644" y="256918"/>
            <a:ext cx="7065112" cy="14512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517419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C5D3EF-32CA-4434-8205-FB9DB4546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45537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86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C5D3EF-32CA-4434-8205-FB9DB4546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09739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50178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1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7772400" cy="100584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350160" y="705701"/>
            <a:ext cx="1206916" cy="858317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925226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985589"/>
              </p:ext>
            </p:extLst>
          </p:nvPr>
        </p:nvGraphicFramePr>
        <p:xfrm>
          <a:off x="1013" y="2330"/>
          <a:ext cx="1012" cy="23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3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30"/>
                        <a:ext cx="1012" cy="23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01203" cy="232832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6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7" y="252579"/>
            <a:ext cx="7065112" cy="175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6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7" y="868141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6" y="9617518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441904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5965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58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111792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46D67E-3EB1-41FA-AEFB-C6169FDCE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45602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46D67E-3EB1-41FA-AEFB-C6169FDCE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7A9879-40E6-449C-B5A9-EACF631F0D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965" b="0" i="1" baseline="0" dirty="0">
              <a:solidFill>
                <a:schemeClr val="bg1"/>
              </a:solidFill>
              <a:latin typeface="Georgia" panose="02040502050405020303" pitchFamily="18" charset="0"/>
              <a:ea typeface="Arial Unicode MS" panose="020B0604020202020204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E73A245-B425-4731-8157-87A2026AAFE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53645" y="1480064"/>
            <a:ext cx="7065112" cy="22813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35618D8-75FC-4E6C-AAA3-0824BE591D0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3"/>
            <a:ext cx="4639637" cy="3539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77"/>
              </a:spcBef>
              <a:spcAft>
                <a:spcPts val="77"/>
              </a:spcAft>
              <a:buNone/>
            </a:pPr>
            <a:r>
              <a:rPr lang="en-US" sz="23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5309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34962C-5319-4953-88B0-090A10CE90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481469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06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34962C-5319-4953-88B0-090A10CE9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4"/>
            <a:ext cx="4639637" cy="314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4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2399" y="205575"/>
            <a:ext cx="2856357" cy="31419"/>
          </a:xfrm>
        </p:spPr>
        <p:txBody>
          <a:bodyPr anchor="ctr" anchorCtr="0">
            <a:spAutoFit/>
          </a:bodyPr>
          <a:lstStyle>
            <a:lvl1pPr algn="r">
              <a:defRPr sz="204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13073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503238"/>
            <a:ext cx="21463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yebrow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6E5ADBC-B1F4-4E1D-9E7F-0062A09DD1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791934"/>
            <a:ext cx="2146300" cy="338554"/>
          </a:xfrm>
        </p:spPr>
        <p:txBody>
          <a:bodyPr>
            <a:spAutoFit/>
          </a:bodyPr>
          <a:lstStyle>
            <a:lvl1pPr>
              <a:defRPr sz="2200" b="1">
                <a:solidFill>
                  <a:schemeClr val="tx1"/>
                </a:solidFill>
                <a:latin typeface="+mj-lt"/>
              </a:defRPr>
            </a:lvl1pPr>
            <a:lvl2pPr>
              <a:defRPr sz="2200" b="1">
                <a:latin typeface="+mj-lt"/>
              </a:defRPr>
            </a:lvl2pPr>
            <a:lvl3pPr>
              <a:defRPr sz="2200" b="1">
                <a:latin typeface="+mj-lt"/>
              </a:defRPr>
            </a:lvl3pPr>
            <a:lvl4pPr>
              <a:defRPr sz="2200" b="1">
                <a:latin typeface="+mj-lt"/>
              </a:defRPr>
            </a:lvl4pPr>
            <a:lvl5pPr>
              <a:defRPr sz="2200" b="1">
                <a:latin typeface="+mj-lt"/>
              </a:defRPr>
            </a:lvl5pPr>
          </a:lstStyle>
          <a:p>
            <a:pPr lvl="0"/>
            <a:r>
              <a:rPr lang="en-US" dirty="0"/>
              <a:t>Edit Title tex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B093232-D8B9-4124-A6A2-A61ECAF1381C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CCD690E-9912-4ABB-B130-A662467B1836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4C0E81F-E5DE-4D50-8A6B-76523DC3FDDC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E0FCD3-E5E0-4C66-A174-F379E77EB7A8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52AC5D2-D8BF-4C5A-A755-B89D1306B5A0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17C9842-E24B-462D-B36D-DBBD759356AA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A9F7E86-21C9-4C7E-90F1-1A88C041A578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8388CF9-9A8C-4DCD-9DB1-5DADDBF77454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E31E60F-2569-4D38-8331-3C86377F76FA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C7F9EA5-40B8-43F8-A22B-C12062F290F7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A0336BC-5A3B-4818-9AC5-F74295FD9659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E866933-88E5-472E-9EB1-1599C1D46016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EA581BF-D7F5-40BD-A28C-A34C789E1775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FC5E07E-3769-4BEB-A977-550F515F3076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4. Footnote" hidden="1">
            <a:extLst>
              <a:ext uri="{FF2B5EF4-FFF2-40B4-BE49-F238E27FC236}">
                <a16:creationId xmlns:a16="http://schemas.microsoft.com/office/drawing/2014/main" id="{16866E6D-AAFE-414C-A85F-1E2766333FD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38" name="Sticker" hidden="1">
            <a:extLst>
              <a:ext uri="{FF2B5EF4-FFF2-40B4-BE49-F238E27FC236}">
                <a16:creationId xmlns:a16="http://schemas.microsoft.com/office/drawing/2014/main" id="{8B7B8E21-8671-41C1-8655-A8D1A71E3EE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1307507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39" name="1. On-page tracker" hidden="1">
            <a:extLst>
              <a:ext uri="{FF2B5EF4-FFF2-40B4-BE49-F238E27FC236}">
                <a16:creationId xmlns:a16="http://schemas.microsoft.com/office/drawing/2014/main" id="{1813A884-D4FB-4D43-A47A-AADDFECD18F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40" name="5. Source" hidden="1">
            <a:extLst>
              <a:ext uri="{FF2B5EF4-FFF2-40B4-BE49-F238E27FC236}">
                <a16:creationId xmlns:a16="http://schemas.microsoft.com/office/drawing/2014/main" id="{E0C71991-A4AA-461A-B20F-AF14EB6C948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43" name="Slide Number">
            <a:extLst>
              <a:ext uri="{FF2B5EF4-FFF2-40B4-BE49-F238E27FC236}">
                <a16:creationId xmlns:a16="http://schemas.microsoft.com/office/drawing/2014/main" id="{14A4A8D0-D6AB-4D90-B602-F912E7BC7AE4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184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43477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2578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4" y="1297597"/>
            <a:ext cx="7065112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148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2399" y="182042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72568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19058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5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925359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97D16441-3E4D-412C-96A0-40BDFF1C8BE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442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84B6CC1D-7067-4916-9062-3287E7A0921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9645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99751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7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02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05415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hibit spl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41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1198274"/>
            <a:ext cx="6756400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  <a:lvl2pPr marL="2025" indent="0">
              <a:buNone/>
              <a:defRPr b="1">
                <a:latin typeface="+mj-lt"/>
              </a:defRPr>
            </a:lvl2pPr>
            <a:lvl3pPr>
              <a:defRPr b="1">
                <a:latin typeface="+mj-lt"/>
              </a:defRPr>
            </a:lvl3pPr>
            <a:lvl4pPr>
              <a:defRPr b="1">
                <a:latin typeface="+mj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7D9C1ED-B141-451E-AD03-0DEAC83C6C71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F38BAC8-2547-4B92-83C0-96ADD96D6180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CF5A4BB-C7EE-4A0B-ADF0-100AC9AE5ACC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5FAB17-2462-498A-96D6-699675960B16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15D4BEF-C13A-4C10-9D2A-102399E1C148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334509-631B-4BCE-AC9A-BC13AFF81ED7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207155-0C48-4B54-B77A-1A67CA130A2F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2FE1215-B173-4BDC-911D-6A6CE49A567F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902D68-1F44-45D7-AE49-2FC4A4DB9391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3433172-82AF-45E0-8EA3-4EFFACD7A06C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5B70027-BCC8-49FD-B1AD-43BD8C0BEAA3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4. Footnote" hidden="1">
            <a:extLst>
              <a:ext uri="{FF2B5EF4-FFF2-40B4-BE49-F238E27FC236}">
                <a16:creationId xmlns:a16="http://schemas.microsoft.com/office/drawing/2014/main" id="{1AC8AAA9-7129-4004-AEDD-00E90CF3700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19" name="Sticker" hidden="1">
            <a:extLst>
              <a:ext uri="{FF2B5EF4-FFF2-40B4-BE49-F238E27FC236}">
                <a16:creationId xmlns:a16="http://schemas.microsoft.com/office/drawing/2014/main" id="{B2D5B965-1A1A-4381-97CA-ED50A9CF3D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5" name="1. On-page tracker" hidden="1">
            <a:extLst>
              <a:ext uri="{FF2B5EF4-FFF2-40B4-BE49-F238E27FC236}">
                <a16:creationId xmlns:a16="http://schemas.microsoft.com/office/drawing/2014/main" id="{64F781E6-52ED-4552-85A7-CEC0395DB50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25F89F57-AD7D-4495-A8AD-9360CB4A63D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5" name="Slide Number">
            <a:extLst>
              <a:ext uri="{FF2B5EF4-FFF2-40B4-BE49-F238E27FC236}">
                <a16:creationId xmlns:a16="http://schemas.microsoft.com/office/drawing/2014/main" id="{47FB298D-E76D-4931-A4DC-CE45BBF8EAE0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849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347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142BDDF-7696-490D-9CAF-2106B9B77926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2A3B37-2998-463F-AA66-8D895308AFBC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68390B9-84C8-4875-B798-E96CAA2A0D3B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60DA14-4952-491D-BB4F-B04CF2E8DC25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BADED9-3EDF-422F-9FF2-1C0D39789221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FF4CCD-E712-4B86-8905-E37AFA5BAB74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7E30BD1-BE6A-4AD6-B2A3-3EF57BA33E3D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AAD7C59-084B-463D-B211-6F2CF2E5E051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753F234-D2E9-4A27-B014-4BFECC91CAE0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CB926D-8699-4A51-99FC-A5702796D119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B05A568-2305-4A17-884B-7CDC592D94A8}"/>
              </a:ext>
            </a:extLst>
          </p:cNvPr>
          <p:cNvCxnSpPr/>
          <p:nvPr userDrawn="1"/>
        </p:nvCxnSpPr>
        <p:spPr>
          <a:xfrm>
            <a:off x="507999" y="176172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A5E1B41-DF5A-4911-A7FD-0264E6D9DDD1}"/>
              </a:ext>
            </a:extLst>
          </p:cNvPr>
          <p:cNvCxnSpPr/>
          <p:nvPr userDrawn="1"/>
        </p:nvCxnSpPr>
        <p:spPr>
          <a:xfrm>
            <a:off x="507999" y="255169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5AAD75-5A55-4B76-95E0-594A161CEE2A}"/>
              </a:ext>
            </a:extLst>
          </p:cNvPr>
          <p:cNvCxnSpPr/>
          <p:nvPr userDrawn="1"/>
        </p:nvCxnSpPr>
        <p:spPr>
          <a:xfrm>
            <a:off x="507999" y="334166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B4D3DE8-AD71-4546-959F-0BDDF94441E6}"/>
              </a:ext>
            </a:extLst>
          </p:cNvPr>
          <p:cNvCxnSpPr/>
          <p:nvPr userDrawn="1"/>
        </p:nvCxnSpPr>
        <p:spPr>
          <a:xfrm>
            <a:off x="507999" y="373665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F60A0EB-0FC5-4358-9A28-77D74B1BB6B3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0186AA0-245B-4634-B907-8CEFE95EFABE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26FD490-035C-4E57-8975-E2C7B9A16EDD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7F89A3D-23FB-426A-AC59-1D554E988EC1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23CAF7E-2588-4321-AE1E-BA37F548C7DC}"/>
              </a:ext>
            </a:extLst>
          </p:cNvPr>
          <p:cNvCxnSpPr/>
          <p:nvPr userDrawn="1"/>
        </p:nvCxnSpPr>
        <p:spPr>
          <a:xfrm>
            <a:off x="507999" y="215670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0401E70-8C53-4B21-8871-6186F62F5B19}"/>
              </a:ext>
            </a:extLst>
          </p:cNvPr>
          <p:cNvCxnSpPr/>
          <p:nvPr userDrawn="1"/>
        </p:nvCxnSpPr>
        <p:spPr>
          <a:xfrm>
            <a:off x="507999" y="294668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4. Footnote" hidden="1">
            <a:extLst>
              <a:ext uri="{FF2B5EF4-FFF2-40B4-BE49-F238E27FC236}">
                <a16:creationId xmlns:a16="http://schemas.microsoft.com/office/drawing/2014/main" id="{00FF5532-97B2-4CA7-B62E-345031FC1BD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27" name="Sticker" hidden="1">
            <a:extLst>
              <a:ext uri="{FF2B5EF4-FFF2-40B4-BE49-F238E27FC236}">
                <a16:creationId xmlns:a16="http://schemas.microsoft.com/office/drawing/2014/main" id="{039D6D57-AC74-4292-B0F5-4E71B14E12E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9" name="1. On-page tracker" hidden="1">
            <a:extLst>
              <a:ext uri="{FF2B5EF4-FFF2-40B4-BE49-F238E27FC236}">
                <a16:creationId xmlns:a16="http://schemas.microsoft.com/office/drawing/2014/main" id="{4B3AC5AC-DA90-41BD-A31B-6C3AC2EB6DBF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30" name="5. Source" hidden="1">
            <a:extLst>
              <a:ext uri="{FF2B5EF4-FFF2-40B4-BE49-F238E27FC236}">
                <a16:creationId xmlns:a16="http://schemas.microsoft.com/office/drawing/2014/main" id="{0236AE7C-82B8-4846-B6FF-B8B466930E7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9" name="Slide Number">
            <a:extLst>
              <a:ext uri="{FF2B5EF4-FFF2-40B4-BE49-F238E27FC236}">
                <a16:creationId xmlns:a16="http://schemas.microsoft.com/office/drawing/2014/main" id="{87AC5426-BBF2-446C-A369-3E63A998145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654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52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8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8785" y="495298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495298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C94D6A5-4691-4025-A495-1BC5996968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98785" y="1380896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F1F9D9B-BFD8-4E81-B933-4AE4EFAF11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8574" y="1380896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D2E4A5FD-559C-4046-A75A-91C45B73CF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98785" y="2266494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BCAE14F-007F-45D2-A17D-9346FC7234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08574" y="2266494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9B6DC9-2E64-4034-A1C0-A9D4779F2D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98785" y="3152092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84EBCF2-121B-4C27-9476-FC43AFE5D4E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08574" y="3152092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10125AE-FFCD-40BA-B610-9827352FFE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8785" y="4037688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8CEB5AF-989A-44CF-BC9D-DC8C48A92D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08574" y="4037688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78A96295-B836-4F33-AB82-2E7DF385FFC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049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 userDrawn="1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6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tags" Target="../tags/tag2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10.xml"/><Relationship Id="rId41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ags" Target="../tags/tag157.xml"/><Relationship Id="rId39" Type="http://schemas.openxmlformats.org/officeDocument/2006/relationships/tags" Target="../tags/tag170.xml"/><Relationship Id="rId21" Type="http://schemas.openxmlformats.org/officeDocument/2006/relationships/slideLayout" Target="../slideLayouts/slideLayout39.xml"/><Relationship Id="rId34" Type="http://schemas.openxmlformats.org/officeDocument/2006/relationships/tags" Target="../tags/tag165.xml"/><Relationship Id="rId42" Type="http://schemas.openxmlformats.org/officeDocument/2006/relationships/tags" Target="../tags/tag173.xml"/><Relationship Id="rId47" Type="http://schemas.openxmlformats.org/officeDocument/2006/relationships/tags" Target="../tags/tag178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9" Type="http://schemas.openxmlformats.org/officeDocument/2006/relationships/tags" Target="../tags/tag160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32" Type="http://schemas.openxmlformats.org/officeDocument/2006/relationships/tags" Target="../tags/tag163.xml"/><Relationship Id="rId37" Type="http://schemas.openxmlformats.org/officeDocument/2006/relationships/tags" Target="../tags/tag168.xml"/><Relationship Id="rId40" Type="http://schemas.openxmlformats.org/officeDocument/2006/relationships/tags" Target="../tags/tag171.xml"/><Relationship Id="rId45" Type="http://schemas.openxmlformats.org/officeDocument/2006/relationships/tags" Target="../tags/tag176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ags" Target="../tags/tag159.xml"/><Relationship Id="rId36" Type="http://schemas.openxmlformats.org/officeDocument/2006/relationships/tags" Target="../tags/tag167.xml"/><Relationship Id="rId49" Type="http://schemas.openxmlformats.org/officeDocument/2006/relationships/oleObject" Target="../embeddings/oleObject17.bin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tags" Target="../tags/tag162.xml"/><Relationship Id="rId44" Type="http://schemas.openxmlformats.org/officeDocument/2006/relationships/tags" Target="../tags/tag175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tags" Target="../tags/tag158.xml"/><Relationship Id="rId30" Type="http://schemas.openxmlformats.org/officeDocument/2006/relationships/tags" Target="../tags/tag161.xml"/><Relationship Id="rId35" Type="http://schemas.openxmlformats.org/officeDocument/2006/relationships/tags" Target="../tags/tag166.xml"/><Relationship Id="rId43" Type="http://schemas.openxmlformats.org/officeDocument/2006/relationships/tags" Target="../tags/tag174.xml"/><Relationship Id="rId48" Type="http://schemas.openxmlformats.org/officeDocument/2006/relationships/tags" Target="../tags/tag179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vmlDrawing" Target="../drawings/vmlDrawing17.vml"/><Relationship Id="rId33" Type="http://schemas.openxmlformats.org/officeDocument/2006/relationships/tags" Target="../tags/tag164.xml"/><Relationship Id="rId38" Type="http://schemas.openxmlformats.org/officeDocument/2006/relationships/tags" Target="../tags/tag169.xml"/><Relationship Id="rId46" Type="http://schemas.openxmlformats.org/officeDocument/2006/relationships/tags" Target="../tags/tag177.xml"/><Relationship Id="rId20" Type="http://schemas.openxmlformats.org/officeDocument/2006/relationships/slideLayout" Target="../slideLayouts/slideLayout38.xml"/><Relationship Id="rId41" Type="http://schemas.openxmlformats.org/officeDocument/2006/relationships/tags" Target="../tags/tag17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ags" Target="../tags/tag353.xml"/><Relationship Id="rId39" Type="http://schemas.openxmlformats.org/officeDocument/2006/relationships/tags" Target="../tags/tag366.xml"/><Relationship Id="rId21" Type="http://schemas.openxmlformats.org/officeDocument/2006/relationships/slideLayout" Target="../slideLayouts/slideLayout62.xml"/><Relationship Id="rId34" Type="http://schemas.openxmlformats.org/officeDocument/2006/relationships/tags" Target="../tags/tag361.xml"/><Relationship Id="rId42" Type="http://schemas.openxmlformats.org/officeDocument/2006/relationships/tags" Target="../tags/tag369.xml"/><Relationship Id="rId47" Type="http://schemas.openxmlformats.org/officeDocument/2006/relationships/tags" Target="../tags/tag374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tags" Target="../tags/tag356.xml"/><Relationship Id="rId11" Type="http://schemas.openxmlformats.org/officeDocument/2006/relationships/slideLayout" Target="../slideLayouts/slideLayout52.xml"/><Relationship Id="rId24" Type="http://schemas.openxmlformats.org/officeDocument/2006/relationships/theme" Target="../theme/theme3.xml"/><Relationship Id="rId32" Type="http://schemas.openxmlformats.org/officeDocument/2006/relationships/tags" Target="../tags/tag359.xml"/><Relationship Id="rId37" Type="http://schemas.openxmlformats.org/officeDocument/2006/relationships/tags" Target="../tags/tag364.xml"/><Relationship Id="rId40" Type="http://schemas.openxmlformats.org/officeDocument/2006/relationships/tags" Target="../tags/tag367.xml"/><Relationship Id="rId45" Type="http://schemas.openxmlformats.org/officeDocument/2006/relationships/tags" Target="../tags/tag37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tags" Target="../tags/tag355.xml"/><Relationship Id="rId36" Type="http://schemas.openxmlformats.org/officeDocument/2006/relationships/tags" Target="../tags/tag363.xml"/><Relationship Id="rId49" Type="http://schemas.openxmlformats.org/officeDocument/2006/relationships/oleObject" Target="../embeddings/oleObject39.bin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tags" Target="../tags/tag358.xml"/><Relationship Id="rId44" Type="http://schemas.openxmlformats.org/officeDocument/2006/relationships/tags" Target="../tags/tag37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tags" Target="../tags/tag354.xml"/><Relationship Id="rId30" Type="http://schemas.openxmlformats.org/officeDocument/2006/relationships/tags" Target="../tags/tag357.xml"/><Relationship Id="rId35" Type="http://schemas.openxmlformats.org/officeDocument/2006/relationships/tags" Target="../tags/tag362.xml"/><Relationship Id="rId43" Type="http://schemas.openxmlformats.org/officeDocument/2006/relationships/tags" Target="../tags/tag370.xml"/><Relationship Id="rId48" Type="http://schemas.openxmlformats.org/officeDocument/2006/relationships/tags" Target="../tags/tag375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vmlDrawing" Target="../drawings/vmlDrawing39.vml"/><Relationship Id="rId33" Type="http://schemas.openxmlformats.org/officeDocument/2006/relationships/tags" Target="../tags/tag360.xml"/><Relationship Id="rId38" Type="http://schemas.openxmlformats.org/officeDocument/2006/relationships/tags" Target="../tags/tag365.xml"/><Relationship Id="rId46" Type="http://schemas.openxmlformats.org/officeDocument/2006/relationships/tags" Target="../tags/tag373.xml"/><Relationship Id="rId20" Type="http://schemas.openxmlformats.org/officeDocument/2006/relationships/slideLayout" Target="../slideLayouts/slideLayout61.xml"/><Relationship Id="rId41" Type="http://schemas.openxmlformats.org/officeDocument/2006/relationships/tags" Target="../tags/tag368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698256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2"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08000" y="9263063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08000" y="503238"/>
            <a:ext cx="6756400" cy="10728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" y="2078735"/>
            <a:ext cx="2152650" cy="3701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7771428" cy="100584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14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6728666" y="6371468"/>
            <a:ext cx="627851" cy="245375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40983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420481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99979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71400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42820"/>
              <a:ext cx="653110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6478836" y="4846819"/>
            <a:ext cx="877681" cy="1226912"/>
            <a:chOff x="4265270" y="3799978"/>
            <a:chExt cx="1376755" cy="836531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99978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71399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542820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4923846" y="2496938"/>
            <a:ext cx="652555" cy="2540060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70693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4615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52161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9707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7253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</p:grpSp>
      <p:sp>
        <p:nvSpPr>
          <p:cNvPr id="170" name="Eyebrow" hidden="1">
            <a:extLst>
              <a:ext uri="{FF2B5EF4-FFF2-40B4-BE49-F238E27FC236}">
                <a16:creationId xmlns:a16="http://schemas.microsoft.com/office/drawing/2014/main" id="{0D40CBEB-BEA3-4D85-842F-77DFE82435CB}"/>
              </a:ext>
            </a:extLst>
          </p:cNvPr>
          <p:cNvSpPr txBox="1">
            <a:spLocks/>
          </p:cNvSpPr>
          <p:nvPr userDrawn="1"/>
        </p:nvSpPr>
        <p:spPr>
          <a:xfrm>
            <a:off x="2813049" y="6143742"/>
            <a:ext cx="387350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Eyebrow</a:t>
            </a:r>
            <a:endParaRPr lang="es-AR" dirty="0"/>
          </a:p>
        </p:txBody>
      </p:sp>
      <p:sp>
        <p:nvSpPr>
          <p:cNvPr id="169" name="Sticker" hidden="1">
            <a:extLst>
              <a:ext uri="{FF2B5EF4-FFF2-40B4-BE49-F238E27FC236}">
                <a16:creationId xmlns:a16="http://schemas.microsoft.com/office/drawing/2014/main" id="{ED9888CE-250F-4C0A-818D-675453373841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08000" y="1890979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71" name="1. On-page tracker" hidden="1">
            <a:extLst>
              <a:ext uri="{FF2B5EF4-FFF2-40B4-BE49-F238E27FC236}">
                <a16:creationId xmlns:a16="http://schemas.microsoft.com/office/drawing/2014/main" id="{E3CB5CDA-5575-416A-BD7D-8B4DEC227EEC}"/>
              </a:ext>
            </a:extLst>
          </p:cNvPr>
          <p:cNvSpPr txBox="1">
            <a:spLocks/>
          </p:cNvSpPr>
          <p:nvPr userDrawn="1">
            <p:custDataLst>
              <p:tags r:id="rId26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172" name="5. Source" hidden="1">
            <a:extLst>
              <a:ext uri="{FF2B5EF4-FFF2-40B4-BE49-F238E27FC236}">
                <a16:creationId xmlns:a16="http://schemas.microsoft.com/office/drawing/2014/main" id="{F13ACA6A-B17B-442B-90C1-CDBFBB4A4699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>
          <a:xfrm>
            <a:off x="508000" y="9423224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886" r:id="rId2"/>
    <p:sldLayoutId id="2147483893" r:id="rId3"/>
    <p:sldLayoutId id="2147483898" r:id="rId4"/>
    <p:sldLayoutId id="2147483894" r:id="rId5"/>
    <p:sldLayoutId id="2147483895" r:id="rId6"/>
    <p:sldLayoutId id="2147483896" r:id="rId7"/>
    <p:sldLayoutId id="2147483897" r:id="rId8"/>
    <p:sldLayoutId id="2147483892" r:id="rId9"/>
    <p:sldLayoutId id="2147483890" r:id="rId10"/>
    <p:sldLayoutId id="2147483900" r:id="rId11"/>
    <p:sldLayoutId id="2147483901" r:id="rId12"/>
    <p:sldLayoutId id="2147483899" r:id="rId13"/>
    <p:sldLayoutId id="2147483905" r:id="rId14"/>
    <p:sldLayoutId id="2147483956" r:id="rId15"/>
    <p:sldLayoutId id="2147483959" r:id="rId16"/>
    <p:sldLayoutId id="2147483960" r:id="rId17"/>
    <p:sldLayoutId id="2147483963" r:id="rId18"/>
  </p:sldLayoutIdLst>
  <p:txStyles>
    <p:titleStyle>
      <a:lvl1pPr algn="l" defTabSz="582930" rtl="0" eaLnBrk="1" latinLnBrk="0" hangingPunct="1">
        <a:lnSpc>
          <a:spcPct val="100000"/>
        </a:lnSpc>
        <a:spcBef>
          <a:spcPct val="0"/>
        </a:spcBef>
        <a:buNone/>
        <a:defRPr sz="28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82930" rtl="0" eaLnBrk="1" latinLnBrk="0" hangingPunct="1">
        <a:lnSpc>
          <a:spcPct val="100000"/>
        </a:lnSpc>
        <a:spcBef>
          <a:spcPts val="191"/>
        </a:spcBef>
        <a:spcAft>
          <a:spcPts val="191"/>
        </a:spcAft>
        <a:buFont typeface="Segoe UI" panose="020B0502040204020203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45733" indent="-14370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Wingdings" panose="05000000000000000000" pitchFamily="2" charset="2"/>
        <a:buChar char="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8910" indent="-18317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73631" indent="-116384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82930" indent="-87035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›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46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293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39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32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879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025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5016636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46"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9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30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353157" y="9311321"/>
            <a:ext cx="4640123" cy="784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1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353644" y="252578"/>
            <a:ext cx="7065112" cy="10728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3644" y="3185160"/>
            <a:ext cx="7065112" cy="3701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33"/>
            </p:custDataLst>
          </p:nvPr>
        </p:nvGrpSpPr>
        <p:grpSpPr>
          <a:xfrm>
            <a:off x="0" y="0"/>
            <a:ext cx="7771428" cy="100584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14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6839100" y="6372606"/>
            <a:ext cx="627851" cy="245375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40983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420481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99979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71400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42820"/>
              <a:ext cx="653110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6816150" y="1964161"/>
            <a:ext cx="652555" cy="2540060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70693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4615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52161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9707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7253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55850" y="1890936"/>
            <a:ext cx="277192" cy="106824"/>
            <a:chOff x="8456447" y="272180"/>
            <a:chExt cx="326092" cy="72820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6092" cy="728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761086">
                <a:buClr>
                  <a:schemeClr val="tx2"/>
                </a:buClr>
              </a:pPr>
              <a:r>
                <a:rPr lang="en-US" sz="574" b="1" spc="32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51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345000"/>
              <a:ext cx="32609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6655500" y="4846567"/>
            <a:ext cx="809201" cy="1226912"/>
            <a:chOff x="4372690" y="3799978"/>
            <a:chExt cx="1269335" cy="836531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99978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71399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542820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632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</p:sldLayoutIdLst>
  <p:txStyles>
    <p:titleStyle>
      <a:lvl1pPr algn="l" defTabSz="582930" rtl="0" eaLnBrk="1" latinLnBrk="0" hangingPunct="1">
        <a:lnSpc>
          <a:spcPct val="93000"/>
        </a:lnSpc>
        <a:spcBef>
          <a:spcPct val="0"/>
        </a:spcBef>
        <a:buNone/>
        <a:defRPr sz="1594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82930" rtl="0" eaLnBrk="1" latinLnBrk="0" hangingPunct="1">
        <a:lnSpc>
          <a:spcPct val="100000"/>
        </a:lnSpc>
        <a:spcBef>
          <a:spcPts val="191"/>
        </a:spcBef>
        <a:spcAft>
          <a:spcPts val="191"/>
        </a:spcAft>
        <a:buFont typeface="Segoe UI" panose="020B0502040204020203" pitchFamily="34" charset="0"/>
        <a:buChar char="​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45733" indent="-14370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Wingdings" panose="05000000000000000000" pitchFamily="2" charset="2"/>
        <a:buChar char="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8910" indent="-18317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—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73631" indent="-116384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»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82930" indent="-87035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›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46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293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39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32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879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025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5581614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74"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9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30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353157" y="9311321"/>
            <a:ext cx="4640123" cy="784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1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353644" y="252578"/>
            <a:ext cx="7065112" cy="10728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3644" y="3185160"/>
            <a:ext cx="7065112" cy="3701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33"/>
            </p:custDataLst>
          </p:nvPr>
        </p:nvGrpSpPr>
        <p:grpSpPr>
          <a:xfrm>
            <a:off x="0" y="0"/>
            <a:ext cx="7771428" cy="100584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14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6839100" y="6372606"/>
            <a:ext cx="627851" cy="245375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40983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420481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99979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71400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42820"/>
              <a:ext cx="653110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6816150" y="1964161"/>
            <a:ext cx="652555" cy="2540060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70693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4615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52161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9707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7253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55850" y="1890936"/>
            <a:ext cx="277192" cy="106824"/>
            <a:chOff x="8456447" y="272180"/>
            <a:chExt cx="326092" cy="72820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6092" cy="728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761086">
                <a:buClr>
                  <a:schemeClr val="tx2"/>
                </a:buClr>
              </a:pPr>
              <a:r>
                <a:rPr lang="en-US" sz="574" b="1" spc="32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51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345000"/>
              <a:ext cx="32609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6655500" y="4846567"/>
            <a:ext cx="809201" cy="1226912"/>
            <a:chOff x="4372690" y="3799978"/>
            <a:chExt cx="1269335" cy="836531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99978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71399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542820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1745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</p:sldLayoutIdLst>
  <p:txStyles>
    <p:titleStyle>
      <a:lvl1pPr algn="l" defTabSz="582930" rtl="0" eaLnBrk="1" latinLnBrk="0" hangingPunct="1">
        <a:lnSpc>
          <a:spcPct val="93000"/>
        </a:lnSpc>
        <a:spcBef>
          <a:spcPct val="0"/>
        </a:spcBef>
        <a:buNone/>
        <a:defRPr sz="1594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82930" rtl="0" eaLnBrk="1" latinLnBrk="0" hangingPunct="1">
        <a:lnSpc>
          <a:spcPct val="100000"/>
        </a:lnSpc>
        <a:spcBef>
          <a:spcPts val="191"/>
        </a:spcBef>
        <a:spcAft>
          <a:spcPts val="191"/>
        </a:spcAft>
        <a:buFont typeface="Segoe UI" panose="020B0502040204020203" pitchFamily="34" charset="0"/>
        <a:buChar char="​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45733" indent="-14370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Wingdings" panose="05000000000000000000" pitchFamily="2" charset="2"/>
        <a:buChar char="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8910" indent="-18317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—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73631" indent="-116384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»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82930" indent="-87035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›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46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293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39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32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879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025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2" Type="http://schemas.openxmlformats.org/officeDocument/2006/relationships/tags" Target="../tags/tag549.xml"/><Relationship Id="rId1" Type="http://schemas.openxmlformats.org/officeDocument/2006/relationships/vmlDrawing" Target="../drawings/vmlDrawing61.v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10" Type="http://schemas.openxmlformats.org/officeDocument/2006/relationships/oleObject" Target="../embeddings/oleObject61.bin"/><Relationship Id="rId4" Type="http://schemas.openxmlformats.org/officeDocument/2006/relationships/tags" Target="../tags/tag551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55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62.vml"/><Relationship Id="rId6" Type="http://schemas.openxmlformats.org/officeDocument/2006/relationships/tags" Target="../tags/tag559.xml"/><Relationship Id="rId5" Type="http://schemas.openxmlformats.org/officeDocument/2006/relationships/tags" Target="../tags/tag558.xml"/><Relationship Id="rId10" Type="http://schemas.openxmlformats.org/officeDocument/2006/relationships/image" Target="../media/image10.emf"/><Relationship Id="rId4" Type="http://schemas.openxmlformats.org/officeDocument/2006/relationships/tags" Target="../tags/tag557.xml"/><Relationship Id="rId9" Type="http://schemas.openxmlformats.org/officeDocument/2006/relationships/oleObject" Target="../embeddings/oleObject6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2" Type="http://schemas.openxmlformats.org/officeDocument/2006/relationships/tags" Target="../tags/tag560.xml"/><Relationship Id="rId1" Type="http://schemas.openxmlformats.org/officeDocument/2006/relationships/vmlDrawing" Target="../drawings/vmlDrawing63.vml"/><Relationship Id="rId6" Type="http://schemas.openxmlformats.org/officeDocument/2006/relationships/tags" Target="../tags/tag564.xml"/><Relationship Id="rId11" Type="http://schemas.openxmlformats.org/officeDocument/2006/relationships/image" Target="../media/image2.emf"/><Relationship Id="rId5" Type="http://schemas.openxmlformats.org/officeDocument/2006/relationships/tags" Target="../tags/tag563.xml"/><Relationship Id="rId10" Type="http://schemas.openxmlformats.org/officeDocument/2006/relationships/oleObject" Target="../embeddings/oleObject63.bin"/><Relationship Id="rId4" Type="http://schemas.openxmlformats.org/officeDocument/2006/relationships/tags" Target="../tags/tag562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3" Type="http://schemas.openxmlformats.org/officeDocument/2006/relationships/tags" Target="../tags/tag567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566.xml"/><Relationship Id="rId1" Type="http://schemas.openxmlformats.org/officeDocument/2006/relationships/vmlDrawing" Target="../drawings/vmlDrawing64.vml"/><Relationship Id="rId6" Type="http://schemas.openxmlformats.org/officeDocument/2006/relationships/slideLayout" Target="../slideLayouts/slideLayout2.xml"/><Relationship Id="rId11" Type="http://schemas.microsoft.com/office/2007/relationships/hdphoto" Target="../media/hdphoto1.wdp"/><Relationship Id="rId5" Type="http://schemas.openxmlformats.org/officeDocument/2006/relationships/tags" Target="../tags/tag569.xml"/><Relationship Id="rId10" Type="http://schemas.openxmlformats.org/officeDocument/2006/relationships/image" Target="../media/image11.png"/><Relationship Id="rId4" Type="http://schemas.openxmlformats.org/officeDocument/2006/relationships/tags" Target="../tags/tag568.xml"/><Relationship Id="rId9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57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70.xml"/><Relationship Id="rId1" Type="http://schemas.openxmlformats.org/officeDocument/2006/relationships/vmlDrawing" Target="../drawings/vmlDrawing65.vml"/><Relationship Id="rId6" Type="http://schemas.openxmlformats.org/officeDocument/2006/relationships/tags" Target="../tags/tag574.xml"/><Relationship Id="rId5" Type="http://schemas.openxmlformats.org/officeDocument/2006/relationships/tags" Target="../tags/tag573.xml"/><Relationship Id="rId10" Type="http://schemas.openxmlformats.org/officeDocument/2006/relationships/image" Target="../media/image12.emf"/><Relationship Id="rId4" Type="http://schemas.openxmlformats.org/officeDocument/2006/relationships/tags" Target="../tags/tag572.xml"/><Relationship Id="rId9" Type="http://schemas.openxmlformats.org/officeDocument/2006/relationships/oleObject" Target="../embeddings/oleObject6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201035" y="3015208"/>
          <a:ext cx="95134" cy="95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93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143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201035" y="3015208"/>
                        <a:ext cx="95134" cy="95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3419E7-9FAA-46AB-A31E-D61AAD35E7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01035" y="3015208"/>
            <a:ext cx="95134" cy="9513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tr-TR" sz="2200" b="1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518345-3F60-4312-81BA-5D4DB0002FF1}"/>
              </a:ext>
            </a:extLst>
          </p:cNvPr>
          <p:cNvSpPr txBox="1">
            <a:spLocks/>
          </p:cNvSpPr>
          <p:nvPr/>
        </p:nvSpPr>
        <p:spPr>
          <a:xfrm>
            <a:off x="503671" y="4351089"/>
            <a:ext cx="2182309" cy="22881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wrap="square" lIns="26853" tIns="26853" rIns="26853" bIns="26853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endParaRPr lang="en-US" sz="1400" dirty="0">
              <a:latin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2371C62-C3D4-437F-AB29-B556037C5D1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803551" y="4351089"/>
            <a:ext cx="2252560" cy="22881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wrap="square" lIns="26853" tIns="26853" rIns="26853" bIns="26853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ct val="0"/>
              </a:spcBef>
              <a:spcAft>
                <a:spcPts val="176"/>
              </a:spcAft>
              <a:defRPr/>
            </a:pPr>
            <a:endParaRPr lang="en-US" sz="1400" dirty="0">
              <a:latin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CB76BF-66AD-4437-94E2-F24466F1F112}"/>
              </a:ext>
            </a:extLst>
          </p:cNvPr>
          <p:cNvSpPr txBox="1">
            <a:spLocks/>
          </p:cNvSpPr>
          <p:nvPr/>
        </p:nvSpPr>
        <p:spPr>
          <a:xfrm>
            <a:off x="5173680" y="4351089"/>
            <a:ext cx="2080202" cy="22881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wrap="square" lIns="26853" tIns="26853" rIns="26853" bIns="26853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endParaRPr lang="en-US" sz="1400" dirty="0">
              <a:latin typeface="Arial"/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D7A1EEE6-1F8A-4F92-B87C-22C156E94FCA}"/>
              </a:ext>
            </a:extLst>
          </p:cNvPr>
          <p:cNvSpPr txBox="1">
            <a:spLocks/>
          </p:cNvSpPr>
          <p:nvPr/>
        </p:nvSpPr>
        <p:spPr>
          <a:xfrm>
            <a:off x="503671" y="4112645"/>
            <a:ext cx="2182310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Context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9F5A6B47-6BEA-4FC3-A385-9DAFFFADC7D2}"/>
              </a:ext>
            </a:extLst>
          </p:cNvPr>
          <p:cNvSpPr txBox="1">
            <a:spLocks/>
          </p:cNvSpPr>
          <p:nvPr/>
        </p:nvSpPr>
        <p:spPr>
          <a:xfrm>
            <a:off x="2803551" y="3897202"/>
            <a:ext cx="2252560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Constraints within</a:t>
            </a:r>
            <a:br>
              <a:rPr lang="en-US" sz="1400" b="1" dirty="0">
                <a:latin typeface="Arial"/>
              </a:rPr>
            </a:br>
            <a:r>
              <a:rPr lang="en-US" sz="1400" b="1" dirty="0">
                <a:latin typeface="Arial"/>
              </a:rPr>
              <a:t>solution space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6311BF38-1D8B-4671-9642-CBFADF65A7AC}"/>
              </a:ext>
            </a:extLst>
          </p:cNvPr>
          <p:cNvSpPr txBox="1">
            <a:spLocks/>
          </p:cNvSpPr>
          <p:nvPr/>
        </p:nvSpPr>
        <p:spPr>
          <a:xfrm>
            <a:off x="5173680" y="4112645"/>
            <a:ext cx="2080202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Criteria for success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7FD73CE6-CCF8-404F-AB02-8E5163547F42}"/>
              </a:ext>
            </a:extLst>
          </p:cNvPr>
          <p:cNvSpPr txBox="1">
            <a:spLocks/>
          </p:cNvSpPr>
          <p:nvPr/>
        </p:nvSpPr>
        <p:spPr>
          <a:xfrm>
            <a:off x="503672" y="2338923"/>
            <a:ext cx="6750210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Basic question to be resolved</a:t>
            </a:r>
            <a:endParaRPr lang="en-US" sz="1400" dirty="0">
              <a:latin typeface="Arial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49B474E2-DC53-46C3-9B80-7CE2ECCE41B2}"/>
              </a:ext>
            </a:extLst>
          </p:cNvPr>
          <p:cNvSpPr>
            <a:spLocks/>
          </p:cNvSpPr>
          <p:nvPr/>
        </p:nvSpPr>
        <p:spPr>
          <a:xfrm>
            <a:off x="509861" y="2601788"/>
            <a:ext cx="6750210" cy="1150490"/>
          </a:xfrm>
          <a:prstGeom prst="rect">
            <a:avLst/>
          </a:pr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707" tIns="26853" rIns="53707" bIns="26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537070">
              <a:defRPr/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E554B83-DC09-49F1-B703-3B1B681D6135}"/>
              </a:ext>
            </a:extLst>
          </p:cNvPr>
          <p:cNvSpPr txBox="1">
            <a:spLocks/>
          </p:cNvSpPr>
          <p:nvPr/>
        </p:nvSpPr>
        <p:spPr>
          <a:xfrm>
            <a:off x="5173680" y="7048875"/>
            <a:ext cx="2080202" cy="22881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wrap="square" lIns="26853" tIns="26853" rIns="26853" bIns="26853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endParaRPr lang="en-US" sz="1400" dirty="0">
              <a:latin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668FE81-17B8-4281-9E3C-0458A98C31F3}"/>
              </a:ext>
            </a:extLst>
          </p:cNvPr>
          <p:cNvSpPr txBox="1">
            <a:spLocks/>
          </p:cNvSpPr>
          <p:nvPr/>
        </p:nvSpPr>
        <p:spPr>
          <a:xfrm>
            <a:off x="2803551" y="7048875"/>
            <a:ext cx="2252560" cy="22881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wrap="square" lIns="26853" tIns="26853" rIns="26853" bIns="26853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endParaRPr lang="en-US" sz="1400" dirty="0">
              <a:latin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083762-9AD6-4A9D-99E5-2C4F8045B771}"/>
              </a:ext>
            </a:extLst>
          </p:cNvPr>
          <p:cNvSpPr txBox="1">
            <a:spLocks/>
          </p:cNvSpPr>
          <p:nvPr/>
        </p:nvSpPr>
        <p:spPr>
          <a:xfrm>
            <a:off x="503671" y="7048875"/>
            <a:ext cx="2182309" cy="22881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wrap="square" lIns="26853" tIns="26853" rIns="26853" bIns="26853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endParaRPr lang="en-US" sz="1400" dirty="0">
              <a:latin typeface="Arial"/>
            </a:endParaRP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E1888CBE-7C03-4B9D-94CB-3D4C13F3EEFB}"/>
              </a:ext>
            </a:extLst>
          </p:cNvPr>
          <p:cNvSpPr txBox="1">
            <a:spLocks/>
          </p:cNvSpPr>
          <p:nvPr/>
        </p:nvSpPr>
        <p:spPr>
          <a:xfrm>
            <a:off x="503671" y="6784179"/>
            <a:ext cx="2182310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Stakeholders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8FD7E882-4E0A-4DF1-9CE1-005A502D0DE5}"/>
              </a:ext>
            </a:extLst>
          </p:cNvPr>
          <p:cNvSpPr txBox="1">
            <a:spLocks/>
          </p:cNvSpPr>
          <p:nvPr/>
        </p:nvSpPr>
        <p:spPr>
          <a:xfrm>
            <a:off x="2803551" y="6784179"/>
            <a:ext cx="2252560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Scope of solution space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9E6B0ADC-B820-4D4C-A3D5-D1A4832EEDD8}"/>
              </a:ext>
            </a:extLst>
          </p:cNvPr>
          <p:cNvSpPr txBox="1">
            <a:spLocks/>
          </p:cNvSpPr>
          <p:nvPr/>
        </p:nvSpPr>
        <p:spPr>
          <a:xfrm>
            <a:off x="5173680" y="6784179"/>
            <a:ext cx="2080202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/>
              </a:rPr>
              <a:t>Key sources of insight</a:t>
            </a:r>
          </a:p>
        </p:txBody>
      </p:sp>
      <p:sp>
        <p:nvSpPr>
          <p:cNvPr id="31" name="2. Slide Title">
            <a:extLst>
              <a:ext uri="{FF2B5EF4-FFF2-40B4-BE49-F238E27FC236}">
                <a16:creationId xmlns:a16="http://schemas.microsoft.com/office/drawing/2014/main" id="{BBC031D2-8B55-4BD9-9928-01EE2980C6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495300"/>
            <a:ext cx="6756400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tr-TR" dirty="0"/>
              <a:t>Case group assignment</a:t>
            </a:r>
            <a:endParaRPr lang="en-US" dirty="0"/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C1F01FBF-8CC1-48CE-A0D2-67A77AF3E51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-5555365" y="1810828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0" dirty="0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169C12-0FF8-4B98-9DBE-2F0D38CE8686}"/>
              </a:ext>
            </a:extLst>
          </p:cNvPr>
          <p:cNvSpPr txBox="1">
            <a:spLocks/>
          </p:cNvSpPr>
          <p:nvPr/>
        </p:nvSpPr>
        <p:spPr>
          <a:xfrm>
            <a:off x="503671" y="1504015"/>
            <a:ext cx="6756400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en-US" sz="1600" dirty="0">
                <a:cs typeface="+mn-cs"/>
              </a:rPr>
              <a:t>Please fill out the problem statement worksheet for «London’s Traffic Problem»</a:t>
            </a:r>
            <a:endParaRPr lang="en-US" sz="1600" dirty="0">
              <a:solidFill>
                <a:srgbClr val="E5546C"/>
              </a:solidFill>
            </a:endParaRP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F823EB20-6ED9-4C05-8D8B-E861EFC5EDD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08000" y="1013996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1" dirty="0"/>
              <a:t>Template: Problem Statement Workshee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F500D21-5A56-459F-8FD7-5DD2071BD150}"/>
              </a:ext>
            </a:extLst>
          </p:cNvPr>
          <p:cNvSpPr txBox="1"/>
          <p:nvPr/>
        </p:nvSpPr>
        <p:spPr>
          <a:xfrm>
            <a:off x="544242" y="9436348"/>
            <a:ext cx="66476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tr-TR" sz="1400" i="1" dirty="0"/>
              <a:t>*</a:t>
            </a:r>
            <a:r>
              <a:rPr lang="en-GB" sz="1400" i="1" dirty="0">
                <a:solidFill>
                  <a:srgbClr val="000000"/>
                </a:solidFill>
              </a:rPr>
              <a:t> A ppt version of </a:t>
            </a:r>
            <a:r>
              <a:rPr lang="en-GB" sz="1400" i="1" dirty="0" err="1">
                <a:solidFill>
                  <a:srgbClr val="000000"/>
                </a:solidFill>
              </a:rPr>
              <a:t>th</a:t>
            </a:r>
            <a:r>
              <a:rPr lang="tr-TR" sz="1400" i="1" dirty="0">
                <a:solidFill>
                  <a:srgbClr val="000000"/>
                </a:solidFill>
              </a:rPr>
              <a:t>is page </a:t>
            </a:r>
            <a:r>
              <a:rPr lang="en-GB" sz="1400" i="1" dirty="0">
                <a:solidFill>
                  <a:srgbClr val="000000"/>
                </a:solidFill>
              </a:rPr>
              <a:t>can be downloaded from the ‘Urban Congestion Case Group Assignment section’ in your Learning Platform</a:t>
            </a:r>
            <a:endParaRPr lang="tr-TR" sz="1400" i="1" dirty="0"/>
          </a:p>
        </p:txBody>
      </p:sp>
    </p:spTree>
    <p:extLst>
      <p:ext uri="{BB962C8B-B14F-4D97-AF65-F5344CB8AC3E}">
        <p14:creationId xmlns:p14="http://schemas.microsoft.com/office/powerpoint/2010/main" val="146243307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" hidden="1">
            <a:extLst>
              <a:ext uri="{FF2B5EF4-FFF2-40B4-BE49-F238E27FC236}">
                <a16:creationId xmlns:a16="http://schemas.microsoft.com/office/drawing/2014/main" id="{C4691AEB-C3FC-47E5-B561-561AC1FFE0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6701" y="3016140"/>
          <a:ext cx="932" cy="9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18" name="think-cell Slide" r:id="rId9" imgW="384" imgH="385" progId="TCLayout.ActiveDocument.1">
                  <p:embed/>
                </p:oleObj>
              </mc:Choice>
              <mc:Fallback>
                <p:oleObj name="think-cell Slide" r:id="rId9" imgW="384" imgH="385" progId="TCLayout.ActiveDocument.1">
                  <p:embed/>
                  <p:pic>
                    <p:nvPicPr>
                      <p:cNvPr id="25" name="Object 2" hidden="1">
                        <a:extLst>
                          <a:ext uri="{FF2B5EF4-FFF2-40B4-BE49-F238E27FC236}">
                            <a16:creationId xmlns:a16="http://schemas.microsoft.com/office/drawing/2014/main" id="{C4691AEB-C3FC-47E5-B561-561AC1FFE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6701" y="3016140"/>
                        <a:ext cx="932" cy="9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1" hidden="1">
            <a:extLst>
              <a:ext uri="{FF2B5EF4-FFF2-40B4-BE49-F238E27FC236}">
                <a16:creationId xmlns:a16="http://schemas.microsoft.com/office/drawing/2014/main" id="{E0EFDC97-DE0E-4AD9-B0EA-72601A4543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5768" y="3015207"/>
            <a:ext cx="93241" cy="9324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76"/>
              </a:spcBef>
              <a:spcAft>
                <a:spcPts val="176"/>
              </a:spcAft>
              <a:defRPr/>
            </a:pPr>
            <a:endParaRPr lang="tr-TR" sz="2200" b="1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7701CBB9-B5B6-4C84-922C-7E65179B78E0}"/>
              </a:ext>
            </a:extLst>
          </p:cNvPr>
          <p:cNvSpPr txBox="1">
            <a:spLocks/>
          </p:cNvSpPr>
          <p:nvPr/>
        </p:nvSpPr>
        <p:spPr>
          <a:xfrm>
            <a:off x="2160711" y="3086329"/>
            <a:ext cx="1564375" cy="108345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44755" tIns="44755" rIns="44755" bIns="4475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26654C68-02AE-480E-83BF-45F2A0E5EE89}"/>
              </a:ext>
            </a:extLst>
          </p:cNvPr>
          <p:cNvSpPr txBox="1">
            <a:spLocks/>
          </p:cNvSpPr>
          <p:nvPr/>
        </p:nvSpPr>
        <p:spPr>
          <a:xfrm>
            <a:off x="2160711" y="5474190"/>
            <a:ext cx="1564375" cy="108345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44755" tIns="44755" rIns="44755" bIns="4475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C14BD8EE-2F92-490B-BB92-632D456247AD}"/>
              </a:ext>
            </a:extLst>
          </p:cNvPr>
          <p:cNvSpPr txBox="1">
            <a:spLocks/>
          </p:cNvSpPr>
          <p:nvPr/>
        </p:nvSpPr>
        <p:spPr>
          <a:xfrm>
            <a:off x="503671" y="3855965"/>
            <a:ext cx="1418959" cy="397417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4755" tIns="44755" rIns="44755" bIns="44755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b="1" dirty="0">
              <a:latin typeface="Arial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3706670C-DEBE-4985-9AFF-CE69D80C525F}"/>
              </a:ext>
            </a:extLst>
          </p:cNvPr>
          <p:cNvSpPr txBox="1">
            <a:spLocks/>
          </p:cNvSpPr>
          <p:nvPr/>
        </p:nvSpPr>
        <p:spPr>
          <a:xfrm>
            <a:off x="3932624" y="4941359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574A7940-8710-472E-828A-D6CB1C6A19A6}"/>
              </a:ext>
            </a:extLst>
          </p:cNvPr>
          <p:cNvSpPr txBox="1">
            <a:spLocks/>
          </p:cNvSpPr>
          <p:nvPr/>
        </p:nvSpPr>
        <p:spPr>
          <a:xfrm>
            <a:off x="3934133" y="5706875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9C486036-B19B-4F29-94E9-6B75AECE520C}"/>
              </a:ext>
            </a:extLst>
          </p:cNvPr>
          <p:cNvSpPr txBox="1">
            <a:spLocks/>
          </p:cNvSpPr>
          <p:nvPr/>
        </p:nvSpPr>
        <p:spPr>
          <a:xfrm>
            <a:off x="3932624" y="6472389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841C1A1-646D-4E37-ACC1-46F2F1DC775C}"/>
              </a:ext>
            </a:extLst>
          </p:cNvPr>
          <p:cNvCxnSpPr>
            <a:cxnSpLocks/>
            <a:stCxn id="9" idx="3"/>
            <a:endCxn id="15" idx="1"/>
          </p:cNvCxnSpPr>
          <p:nvPr/>
        </p:nvCxnSpPr>
        <p:spPr>
          <a:xfrm flipV="1">
            <a:off x="3725087" y="5250402"/>
            <a:ext cx="207537" cy="765515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319B6C7E-3DA5-458F-B35A-53F50271C793}"/>
              </a:ext>
            </a:extLst>
          </p:cNvPr>
          <p:cNvCxnSpPr>
            <a:cxnSpLocks/>
            <a:stCxn id="9" idx="3"/>
            <a:endCxn id="16" idx="1"/>
          </p:cNvCxnSpPr>
          <p:nvPr/>
        </p:nvCxnSpPr>
        <p:spPr>
          <a:xfrm>
            <a:off x="3725086" y="6015916"/>
            <a:ext cx="209046" cy="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679F3C1-7032-4C16-B372-7AA797C6BEF6}"/>
              </a:ext>
            </a:extLst>
          </p:cNvPr>
          <p:cNvCxnSpPr>
            <a:cxnSpLocks/>
            <a:stCxn id="9" idx="3"/>
            <a:endCxn id="17" idx="1"/>
          </p:cNvCxnSpPr>
          <p:nvPr/>
        </p:nvCxnSpPr>
        <p:spPr>
          <a:xfrm>
            <a:off x="3725087" y="6015916"/>
            <a:ext cx="207537" cy="765515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3">
            <a:extLst>
              <a:ext uri="{FF2B5EF4-FFF2-40B4-BE49-F238E27FC236}">
                <a16:creationId xmlns:a16="http://schemas.microsoft.com/office/drawing/2014/main" id="{079DEBB9-BB9A-49B4-9774-7A777333ECAE}"/>
              </a:ext>
            </a:extLst>
          </p:cNvPr>
          <p:cNvSpPr txBox="1">
            <a:spLocks/>
          </p:cNvSpPr>
          <p:nvPr/>
        </p:nvSpPr>
        <p:spPr>
          <a:xfrm>
            <a:off x="3932624" y="2553497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27" name="TextBox 3">
            <a:extLst>
              <a:ext uri="{FF2B5EF4-FFF2-40B4-BE49-F238E27FC236}">
                <a16:creationId xmlns:a16="http://schemas.microsoft.com/office/drawing/2014/main" id="{58DAADDF-4D7D-485F-B754-F242344948FE}"/>
              </a:ext>
            </a:extLst>
          </p:cNvPr>
          <p:cNvSpPr txBox="1">
            <a:spLocks/>
          </p:cNvSpPr>
          <p:nvPr/>
        </p:nvSpPr>
        <p:spPr>
          <a:xfrm>
            <a:off x="3934133" y="3319014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28" name="TextBox 3">
            <a:extLst>
              <a:ext uri="{FF2B5EF4-FFF2-40B4-BE49-F238E27FC236}">
                <a16:creationId xmlns:a16="http://schemas.microsoft.com/office/drawing/2014/main" id="{2FBA3A85-12F9-45AA-BCB3-5A2878289875}"/>
              </a:ext>
            </a:extLst>
          </p:cNvPr>
          <p:cNvSpPr txBox="1">
            <a:spLocks/>
          </p:cNvSpPr>
          <p:nvPr/>
        </p:nvSpPr>
        <p:spPr>
          <a:xfrm>
            <a:off x="3932624" y="4084529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8B34804A-74C2-449F-84E3-42070F8183DF}"/>
              </a:ext>
            </a:extLst>
          </p:cNvPr>
          <p:cNvCxnSpPr>
            <a:cxnSpLocks/>
            <a:endCxn id="26" idx="1"/>
          </p:cNvCxnSpPr>
          <p:nvPr/>
        </p:nvCxnSpPr>
        <p:spPr>
          <a:xfrm flipV="1">
            <a:off x="3725087" y="2862538"/>
            <a:ext cx="207537" cy="765515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2FBE5AD2-245E-472D-9918-DDFA98BD48F6}"/>
              </a:ext>
            </a:extLst>
          </p:cNvPr>
          <p:cNvCxnSpPr>
            <a:cxnSpLocks/>
            <a:endCxn id="27" idx="1"/>
          </p:cNvCxnSpPr>
          <p:nvPr/>
        </p:nvCxnSpPr>
        <p:spPr>
          <a:xfrm>
            <a:off x="3725086" y="3628054"/>
            <a:ext cx="209046" cy="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7BB35D4C-F34A-4B39-8578-A395DE1DA670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3725087" y="3628054"/>
            <a:ext cx="207537" cy="765515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">
            <a:extLst>
              <a:ext uri="{FF2B5EF4-FFF2-40B4-BE49-F238E27FC236}">
                <a16:creationId xmlns:a16="http://schemas.microsoft.com/office/drawing/2014/main" id="{BD0F04A4-71F2-480D-8FC9-3E6A4504B593}"/>
              </a:ext>
            </a:extLst>
          </p:cNvPr>
          <p:cNvSpPr txBox="1">
            <a:spLocks/>
          </p:cNvSpPr>
          <p:nvPr/>
        </p:nvSpPr>
        <p:spPr>
          <a:xfrm>
            <a:off x="2160711" y="7744887"/>
            <a:ext cx="1564375" cy="1083451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44755" tIns="44755" rIns="44755" bIns="4475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38" name="TextBox 3">
            <a:extLst>
              <a:ext uri="{FF2B5EF4-FFF2-40B4-BE49-F238E27FC236}">
                <a16:creationId xmlns:a16="http://schemas.microsoft.com/office/drawing/2014/main" id="{67A48392-7B3B-429C-8F33-0DAE1601D553}"/>
              </a:ext>
            </a:extLst>
          </p:cNvPr>
          <p:cNvSpPr txBox="1">
            <a:spLocks/>
          </p:cNvSpPr>
          <p:nvPr/>
        </p:nvSpPr>
        <p:spPr>
          <a:xfrm>
            <a:off x="3932624" y="7212057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39" name="TextBox 3">
            <a:extLst>
              <a:ext uri="{FF2B5EF4-FFF2-40B4-BE49-F238E27FC236}">
                <a16:creationId xmlns:a16="http://schemas.microsoft.com/office/drawing/2014/main" id="{236ECF66-B54F-470F-8DF7-8868905B4D23}"/>
              </a:ext>
            </a:extLst>
          </p:cNvPr>
          <p:cNvSpPr txBox="1">
            <a:spLocks/>
          </p:cNvSpPr>
          <p:nvPr/>
        </p:nvSpPr>
        <p:spPr>
          <a:xfrm>
            <a:off x="3934133" y="7977572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sp>
        <p:nvSpPr>
          <p:cNvPr id="40" name="TextBox 3">
            <a:extLst>
              <a:ext uri="{FF2B5EF4-FFF2-40B4-BE49-F238E27FC236}">
                <a16:creationId xmlns:a16="http://schemas.microsoft.com/office/drawing/2014/main" id="{C85AD46A-B38F-434D-B802-18439C94C3CD}"/>
              </a:ext>
            </a:extLst>
          </p:cNvPr>
          <p:cNvSpPr txBox="1">
            <a:spLocks/>
          </p:cNvSpPr>
          <p:nvPr/>
        </p:nvSpPr>
        <p:spPr>
          <a:xfrm>
            <a:off x="3932624" y="8743086"/>
            <a:ext cx="3325938" cy="61808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42294" tIns="42294" rIns="42294" bIns="4229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37070">
              <a:defRPr/>
            </a:pPr>
            <a:endParaRPr lang="en-US" sz="1000" dirty="0">
              <a:latin typeface="Arial"/>
            </a:endParaRP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FFB6EC6E-310C-4493-96F7-17C4AD100F03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 flipV="1">
            <a:off x="3725087" y="7521098"/>
            <a:ext cx="207537" cy="765515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E1331E6-F556-42BA-82B6-52D38C7ACC29}"/>
              </a:ext>
            </a:extLst>
          </p:cNvPr>
          <p:cNvCxnSpPr>
            <a:cxnSpLocks/>
            <a:stCxn id="37" idx="3"/>
            <a:endCxn id="39" idx="1"/>
          </p:cNvCxnSpPr>
          <p:nvPr/>
        </p:nvCxnSpPr>
        <p:spPr>
          <a:xfrm>
            <a:off x="3725086" y="8286613"/>
            <a:ext cx="209046" cy="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E4B2F987-8DB5-4C34-8F17-BAD6426BBEEB}"/>
              </a:ext>
            </a:extLst>
          </p:cNvPr>
          <p:cNvCxnSpPr>
            <a:cxnSpLocks/>
            <a:stCxn id="37" idx="3"/>
            <a:endCxn id="40" idx="1"/>
          </p:cNvCxnSpPr>
          <p:nvPr/>
        </p:nvCxnSpPr>
        <p:spPr>
          <a:xfrm>
            <a:off x="3725087" y="8286613"/>
            <a:ext cx="207537" cy="765515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4BC30351-F909-4A83-A734-D7623D614260}"/>
              </a:ext>
            </a:extLst>
          </p:cNvPr>
          <p:cNvCxnSpPr>
            <a:cxnSpLocks/>
            <a:stCxn id="10" idx="3"/>
            <a:endCxn id="8" idx="1"/>
          </p:cNvCxnSpPr>
          <p:nvPr/>
        </p:nvCxnSpPr>
        <p:spPr>
          <a:xfrm flipV="1">
            <a:off x="1922630" y="3628056"/>
            <a:ext cx="238081" cy="2214997"/>
          </a:xfrm>
          <a:prstGeom prst="bentConnector3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BF97C6DC-C1A4-41E0-857E-8ECE0DA58A4C}"/>
              </a:ext>
            </a:extLst>
          </p:cNvPr>
          <p:cNvCxnSpPr>
            <a:cxnSpLocks/>
            <a:stCxn id="10" idx="3"/>
            <a:endCxn id="9" idx="1"/>
          </p:cNvCxnSpPr>
          <p:nvPr/>
        </p:nvCxnSpPr>
        <p:spPr>
          <a:xfrm>
            <a:off x="1922630" y="5843052"/>
            <a:ext cx="238081" cy="172864"/>
          </a:xfrm>
          <a:prstGeom prst="bentConnector3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68E8F17C-8063-4002-973B-D68F456508C2}"/>
              </a:ext>
            </a:extLst>
          </p:cNvPr>
          <p:cNvCxnSpPr>
            <a:cxnSpLocks/>
            <a:stCxn id="10" idx="3"/>
            <a:endCxn id="37" idx="1"/>
          </p:cNvCxnSpPr>
          <p:nvPr/>
        </p:nvCxnSpPr>
        <p:spPr>
          <a:xfrm>
            <a:off x="1922630" y="5843052"/>
            <a:ext cx="238081" cy="2443561"/>
          </a:xfrm>
          <a:prstGeom prst="bentConnector3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2. Slide Title">
            <a:extLst>
              <a:ext uri="{FF2B5EF4-FFF2-40B4-BE49-F238E27FC236}">
                <a16:creationId xmlns:a16="http://schemas.microsoft.com/office/drawing/2014/main" id="{050A5615-9138-4DF4-8871-294212AA4FB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08000" y="495300"/>
            <a:ext cx="6756400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tr-TR" dirty="0"/>
              <a:t>Case group assignment</a:t>
            </a:r>
            <a:endParaRPr lang="en-US" dirty="0"/>
          </a:p>
        </p:txBody>
      </p:sp>
      <p:sp>
        <p:nvSpPr>
          <p:cNvPr id="36" name="2. Slide Title">
            <a:extLst>
              <a:ext uri="{FF2B5EF4-FFF2-40B4-BE49-F238E27FC236}">
                <a16:creationId xmlns:a16="http://schemas.microsoft.com/office/drawing/2014/main" id="{9662DD48-BA3A-41FD-8047-5573EDAFA5C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-6870700" y="2276498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0" dirty="0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20A7E6-2183-4D83-BF94-E215A771FE82}"/>
              </a:ext>
            </a:extLst>
          </p:cNvPr>
          <p:cNvSpPr txBox="1">
            <a:spLocks/>
          </p:cNvSpPr>
          <p:nvPr/>
        </p:nvSpPr>
        <p:spPr>
          <a:xfrm>
            <a:off x="503671" y="1388445"/>
            <a:ext cx="6756400" cy="10874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en-US" sz="1600" dirty="0">
                <a:cs typeface="+mn-cs"/>
              </a:rPr>
              <a:t>Please create an issue tree for «London’s Traffic Problem</a:t>
            </a:r>
            <a:r>
              <a:rPr lang="tr-TR" sz="1600" dirty="0">
                <a:cs typeface="+mn-cs"/>
              </a:rPr>
              <a:t>»</a:t>
            </a:r>
            <a:endParaRPr lang="en-US" sz="1600" dirty="0">
              <a:solidFill>
                <a:srgbClr val="E5546C"/>
              </a:solidFill>
              <a:cs typeface="+mn-cs"/>
            </a:endParaRPr>
          </a:p>
          <a:p>
            <a:endParaRPr lang="en-US" sz="1600" dirty="0">
              <a:cs typeface="+mn-cs"/>
            </a:endParaRPr>
          </a:p>
          <a:p>
            <a:r>
              <a:rPr lang="en-US" sz="1600" dirty="0">
                <a:cs typeface="+mn-cs"/>
              </a:rPr>
              <a:t>Feel free to add/remove as many boxes as you need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B4129F03-2E46-4619-A614-CBE3C32040B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08000" y="1013996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1" dirty="0"/>
              <a:t>Template: Issue Tre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6EA5402-2230-4793-9444-6B19C14C43DB}"/>
              </a:ext>
            </a:extLst>
          </p:cNvPr>
          <p:cNvSpPr txBox="1"/>
          <p:nvPr/>
        </p:nvSpPr>
        <p:spPr>
          <a:xfrm>
            <a:off x="544242" y="9436348"/>
            <a:ext cx="66476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tr-TR" sz="1400" i="1" dirty="0"/>
              <a:t>*</a:t>
            </a:r>
            <a:r>
              <a:rPr lang="en-GB" sz="1400" i="1" dirty="0">
                <a:solidFill>
                  <a:srgbClr val="000000"/>
                </a:solidFill>
              </a:rPr>
              <a:t> A ppt version of </a:t>
            </a:r>
            <a:r>
              <a:rPr lang="en-GB" sz="1400" i="1" dirty="0" err="1">
                <a:solidFill>
                  <a:srgbClr val="000000"/>
                </a:solidFill>
              </a:rPr>
              <a:t>th</a:t>
            </a:r>
            <a:r>
              <a:rPr lang="tr-TR" sz="1400" i="1" dirty="0">
                <a:solidFill>
                  <a:srgbClr val="000000"/>
                </a:solidFill>
              </a:rPr>
              <a:t>is page </a:t>
            </a:r>
            <a:r>
              <a:rPr lang="en-GB" sz="1400" i="1" dirty="0">
                <a:solidFill>
                  <a:srgbClr val="000000"/>
                </a:solidFill>
              </a:rPr>
              <a:t>can be downloaded from the ‘Urban Congestion Case Group Assignment section’ in your Learning Platform</a:t>
            </a:r>
            <a:endParaRPr lang="tr-TR" sz="1400" i="1" dirty="0"/>
          </a:p>
        </p:txBody>
      </p:sp>
    </p:spTree>
    <p:extLst>
      <p:ext uri="{BB962C8B-B14F-4D97-AF65-F5344CB8AC3E}">
        <p14:creationId xmlns:p14="http://schemas.microsoft.com/office/powerpoint/2010/main" val="2680217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306E003B-9D40-4414-9B26-D7D2451DB05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55519335"/>
              </p:ext>
            </p:extLst>
          </p:nvPr>
        </p:nvGraphicFramePr>
        <p:xfrm>
          <a:off x="306701" y="3016140"/>
          <a:ext cx="932" cy="9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4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306E003B-9D40-4414-9B26-D7D2451DB0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6701" y="3016140"/>
                        <a:ext cx="932" cy="9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1FC4D4F7-5B20-433B-897A-BD6744AD70E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05768" y="3015207"/>
            <a:ext cx="93241" cy="9324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76"/>
              </a:spcBef>
              <a:spcAft>
                <a:spcPts val="176"/>
              </a:spcAft>
              <a:defRPr/>
            </a:pPr>
            <a:endParaRPr lang="tr-TR" sz="2200" b="1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5" name="Line 24">
            <a:extLst>
              <a:ext uri="{FF2B5EF4-FFF2-40B4-BE49-F238E27FC236}">
                <a16:creationId xmlns:a16="http://schemas.microsoft.com/office/drawing/2014/main" id="{E8857EA2-28A3-434D-8A91-B7255B19D556}"/>
              </a:ext>
            </a:extLst>
          </p:cNvPr>
          <p:cNvSpPr>
            <a:spLocks noChangeShapeType="1"/>
          </p:cNvSpPr>
          <p:nvPr/>
        </p:nvSpPr>
        <p:spPr bwMode="gray">
          <a:xfrm rot="5400000" flipH="1">
            <a:off x="-2269968" y="5250504"/>
            <a:ext cx="6200590" cy="0"/>
          </a:xfrm>
          <a:prstGeom prst="line">
            <a:avLst/>
          </a:prstGeom>
          <a:ln w="6350" cap="rnd">
            <a:solidFill>
              <a:schemeClr val="tx1"/>
            </a:solidFill>
            <a:round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t" anchorCtr="0"/>
          <a:lstStyle/>
          <a:p>
            <a:pPr algn="ctr" defTabSz="53707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286">
            <a:extLst>
              <a:ext uri="{FF2B5EF4-FFF2-40B4-BE49-F238E27FC236}">
                <a16:creationId xmlns:a16="http://schemas.microsoft.com/office/drawing/2014/main" id="{E71EA2E0-FE0C-4CDB-A593-77601AABCFA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2468837" y="5122721"/>
            <a:ext cx="6200593" cy="25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525880">
              <a:buClr>
                <a:srgbClr val="051C2C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Impact</a:t>
            </a:r>
          </a:p>
        </p:txBody>
      </p:sp>
      <p:sp>
        <p:nvSpPr>
          <p:cNvPr id="39" name="Rectangle 286">
            <a:extLst>
              <a:ext uri="{FF2B5EF4-FFF2-40B4-BE49-F238E27FC236}">
                <a16:creationId xmlns:a16="http://schemas.microsoft.com/office/drawing/2014/main" id="{D402B167-8344-474B-9382-DBC6A15B0CDF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498313" y="6704592"/>
            <a:ext cx="3100294" cy="25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525880">
              <a:buClr>
                <a:srgbClr val="051C2C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Low Impact</a:t>
            </a:r>
          </a:p>
        </p:txBody>
      </p:sp>
      <p:sp>
        <p:nvSpPr>
          <p:cNvPr id="40" name="Line 21">
            <a:extLst>
              <a:ext uri="{FF2B5EF4-FFF2-40B4-BE49-F238E27FC236}">
                <a16:creationId xmlns:a16="http://schemas.microsoft.com/office/drawing/2014/main" id="{0F407DF5-081E-42EB-818A-518DB07D0C15}"/>
              </a:ext>
            </a:extLst>
          </p:cNvPr>
          <p:cNvSpPr>
            <a:spLocks noChangeShapeType="1"/>
          </p:cNvSpPr>
          <p:nvPr/>
        </p:nvSpPr>
        <p:spPr bwMode="gray">
          <a:xfrm>
            <a:off x="1266764" y="8833891"/>
            <a:ext cx="5993307" cy="0"/>
          </a:xfrm>
          <a:prstGeom prst="line">
            <a:avLst/>
          </a:prstGeom>
          <a:ln w="6350" cap="rnd">
            <a:solidFill>
              <a:schemeClr val="tx1"/>
            </a:solidFill>
            <a:round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t" anchorCtr="0"/>
          <a:lstStyle/>
          <a:p>
            <a:pPr algn="ctr" defTabSz="53707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tangle 286">
            <a:extLst>
              <a:ext uri="{FF2B5EF4-FFF2-40B4-BE49-F238E27FC236}">
                <a16:creationId xmlns:a16="http://schemas.microsoft.com/office/drawing/2014/main" id="{62988C38-0A4F-453F-953E-E26DCC40FA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6764" y="8422153"/>
            <a:ext cx="297107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525880">
              <a:buClr>
                <a:srgbClr val="051C2C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Difficult to Implement</a:t>
            </a:r>
          </a:p>
        </p:txBody>
      </p:sp>
      <p:sp>
        <p:nvSpPr>
          <p:cNvPr id="43" name="Rectangle 286">
            <a:extLst>
              <a:ext uri="{FF2B5EF4-FFF2-40B4-BE49-F238E27FC236}">
                <a16:creationId xmlns:a16="http://schemas.microsoft.com/office/drawing/2014/main" id="{136ED94C-B47E-45CD-B3DD-F26E7BBCCE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7840" y="8422153"/>
            <a:ext cx="297107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525880">
              <a:buClr>
                <a:srgbClr val="051C2C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Easier to Implement</a:t>
            </a:r>
          </a:p>
        </p:txBody>
      </p:sp>
      <p:sp>
        <p:nvSpPr>
          <p:cNvPr id="44" name="Rectangle 286">
            <a:extLst>
              <a:ext uri="{FF2B5EF4-FFF2-40B4-BE49-F238E27FC236}">
                <a16:creationId xmlns:a16="http://schemas.microsoft.com/office/drawing/2014/main" id="{60E11599-A9AC-4543-81B1-3D01ADB4E8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6764" y="8999545"/>
            <a:ext cx="594214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525880">
              <a:buClr>
                <a:srgbClr val="051C2C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Ease of Implementation</a:t>
            </a:r>
          </a:p>
        </p:txBody>
      </p:sp>
      <p:sp>
        <p:nvSpPr>
          <p:cNvPr id="45" name="Rectangle 286">
            <a:extLst>
              <a:ext uri="{FF2B5EF4-FFF2-40B4-BE49-F238E27FC236}">
                <a16:creationId xmlns:a16="http://schemas.microsoft.com/office/drawing/2014/main" id="{9429A8B4-9576-45CF-BC1C-3322C5805AF4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482448" y="3556702"/>
            <a:ext cx="3068569" cy="25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525880">
              <a:buClr>
                <a:srgbClr val="051C2C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High Impact</a:t>
            </a:r>
          </a:p>
        </p:txBody>
      </p:sp>
      <p:sp>
        <p:nvSpPr>
          <p:cNvPr id="46" name="Rectangle 27">
            <a:extLst>
              <a:ext uri="{FF2B5EF4-FFF2-40B4-BE49-F238E27FC236}">
                <a16:creationId xmlns:a16="http://schemas.microsoft.com/office/drawing/2014/main" id="{83DFDD51-4CEF-443B-9012-3944F105AA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66764" y="2150209"/>
            <a:ext cx="2971073" cy="3100296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07413" tIns="107413" rIns="107413" bIns="107413" anchor="ctr">
            <a:noAutofit/>
          </a:bodyPr>
          <a:lstStyle/>
          <a:p>
            <a:pPr algn="ctr" defTabSz="53707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Rectangle 29">
            <a:extLst>
              <a:ext uri="{FF2B5EF4-FFF2-40B4-BE49-F238E27FC236}">
                <a16:creationId xmlns:a16="http://schemas.microsoft.com/office/drawing/2014/main" id="{CD8D0291-A64D-4DBF-9107-418904DE73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37838" y="2150209"/>
            <a:ext cx="2971073" cy="3100296"/>
          </a:xfrm>
          <a:prstGeom prst="rect">
            <a:avLst/>
          </a:prstGeom>
          <a:solidFill>
            <a:srgbClr val="E6E6E6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07413" tIns="107413" rIns="107413" bIns="107413" anchor="ctr">
            <a:noAutofit/>
          </a:bodyPr>
          <a:lstStyle/>
          <a:p>
            <a:pPr algn="ctr" defTabSz="537070">
              <a:defRPr/>
            </a:pPr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5244AD12-0152-49BF-8CCC-CBBA4F4941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66764" y="5250505"/>
            <a:ext cx="2971073" cy="3100296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07413" tIns="107413" rIns="107413" bIns="107413" anchor="ctr"/>
          <a:lstStyle/>
          <a:p>
            <a:pPr algn="ctr" defTabSz="53707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Rectangle 31">
            <a:extLst>
              <a:ext uri="{FF2B5EF4-FFF2-40B4-BE49-F238E27FC236}">
                <a16:creationId xmlns:a16="http://schemas.microsoft.com/office/drawing/2014/main" id="{025E8D15-A6AA-4CE9-A9D9-C40D95DF01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37838" y="5250505"/>
            <a:ext cx="2971073" cy="3100296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07413" tIns="107413" rIns="107413" bIns="107413" anchor="ctr">
            <a:noAutofit/>
          </a:bodyPr>
          <a:lstStyle/>
          <a:p>
            <a:pPr algn="ctr" defTabSz="53707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C6E83115-27D5-497A-99CD-310B125B2AC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495300"/>
            <a:ext cx="6756400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tr-TR" dirty="0"/>
              <a:t>Case group assignment</a:t>
            </a:r>
            <a:endParaRPr lang="en-US" dirty="0"/>
          </a:p>
        </p:txBody>
      </p:sp>
      <p:sp>
        <p:nvSpPr>
          <p:cNvPr id="22" name="2. Slide Title">
            <a:extLst>
              <a:ext uri="{FF2B5EF4-FFF2-40B4-BE49-F238E27FC236}">
                <a16:creationId xmlns:a16="http://schemas.microsoft.com/office/drawing/2014/main" id="{8062875F-FF14-4093-ADEE-8F5E137FFF8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-5832352" y="1702978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0" dirty="0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DD1F74-B833-409F-BCBB-F693D29DE8C1}"/>
              </a:ext>
            </a:extLst>
          </p:cNvPr>
          <p:cNvSpPr txBox="1">
            <a:spLocks/>
          </p:cNvSpPr>
          <p:nvPr/>
        </p:nvSpPr>
        <p:spPr>
          <a:xfrm>
            <a:off x="503671" y="1461372"/>
            <a:ext cx="6756400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en-US" sz="1600" dirty="0">
                <a:cs typeface="+mn-cs"/>
              </a:rPr>
              <a:t>Please create a prioritization matrix for «London’s Traffic Problem». </a:t>
            </a:r>
            <a:endParaRPr lang="en-US" sz="1600" dirty="0">
              <a:solidFill>
                <a:srgbClr val="E5546C"/>
              </a:solidFill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A40A7337-ACF2-4365-B0F5-28FAADEC8DE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08000" y="1013996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1" dirty="0"/>
              <a:t>Template: Prioritization Matrix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332293-F64B-407F-ADD8-52436C378FAF}"/>
              </a:ext>
            </a:extLst>
          </p:cNvPr>
          <p:cNvSpPr txBox="1"/>
          <p:nvPr/>
        </p:nvSpPr>
        <p:spPr>
          <a:xfrm>
            <a:off x="544242" y="9436348"/>
            <a:ext cx="66476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tr-TR" sz="1400" i="1" dirty="0"/>
              <a:t>*</a:t>
            </a:r>
            <a:r>
              <a:rPr lang="en-GB" sz="1400" i="1" dirty="0">
                <a:solidFill>
                  <a:srgbClr val="000000"/>
                </a:solidFill>
              </a:rPr>
              <a:t> A ppt version of </a:t>
            </a:r>
            <a:r>
              <a:rPr lang="en-GB" sz="1400" i="1" dirty="0" err="1">
                <a:solidFill>
                  <a:srgbClr val="000000"/>
                </a:solidFill>
              </a:rPr>
              <a:t>th</a:t>
            </a:r>
            <a:r>
              <a:rPr lang="tr-TR" sz="1400" i="1" dirty="0">
                <a:solidFill>
                  <a:srgbClr val="000000"/>
                </a:solidFill>
              </a:rPr>
              <a:t>is page </a:t>
            </a:r>
            <a:r>
              <a:rPr lang="en-GB" sz="1400" i="1" dirty="0">
                <a:solidFill>
                  <a:srgbClr val="000000"/>
                </a:solidFill>
              </a:rPr>
              <a:t>can be downloaded from the ‘Urban Congestion Case Group Assignment section’ in your Learning Platform</a:t>
            </a:r>
            <a:endParaRPr lang="tr-TR" sz="1400" i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31148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>
            <a:extLst>
              <a:ext uri="{FF2B5EF4-FFF2-40B4-BE49-F238E27FC236}">
                <a16:creationId xmlns:a16="http://schemas.microsoft.com/office/drawing/2014/main" id="{58570A86-A354-4820-9BC8-29E85EEBA3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13" y="2844225"/>
          <a:ext cx="1012" cy="1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65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6" name="Object 3" hidden="1">
                        <a:extLst>
                          <a:ext uri="{FF2B5EF4-FFF2-40B4-BE49-F238E27FC236}">
                            <a16:creationId xmlns:a16="http://schemas.microsoft.com/office/drawing/2014/main" id="{58570A86-A354-4820-9BC8-29E85EEBA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3" y="2844225"/>
                        <a:ext cx="1012" cy="1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54DAE1AD-06E0-4AC3-9788-E453D4754A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843213"/>
            <a:ext cx="101203" cy="10120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82930">
              <a:spcBef>
                <a:spcPts val="191"/>
              </a:spcBef>
              <a:spcAft>
                <a:spcPts val="191"/>
              </a:spcAft>
            </a:pPr>
            <a:endParaRPr lang="en-US" sz="2200" b="1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D4F363-64EC-4C63-8BD1-FFC32F5E5512}"/>
              </a:ext>
            </a:extLst>
          </p:cNvPr>
          <p:cNvSpPr txBox="1">
            <a:spLocks/>
          </p:cNvSpPr>
          <p:nvPr/>
        </p:nvSpPr>
        <p:spPr>
          <a:xfrm>
            <a:off x="503671" y="1649072"/>
            <a:ext cx="3001429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82930">
              <a:spcBef>
                <a:spcPts val="191"/>
              </a:spcBef>
              <a:spcAft>
                <a:spcPts val="191"/>
              </a:spcAft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Your recommend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4B942D5-BC67-4B1D-9B46-E1CB1EBC1134}"/>
              </a:ext>
            </a:extLst>
          </p:cNvPr>
          <p:cNvSpPr txBox="1">
            <a:spLocks/>
          </p:cNvSpPr>
          <p:nvPr/>
        </p:nvSpPr>
        <p:spPr>
          <a:xfrm>
            <a:off x="4018673" y="1402850"/>
            <a:ext cx="324139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82930">
              <a:spcBef>
                <a:spcPts val="191"/>
              </a:spcBef>
              <a:spcAft>
                <a:spcPts val="191"/>
              </a:spcAft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Reasoning behind your recommendation (Why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4A4A333-5EDE-4724-AAC9-215BC510CB66}"/>
              </a:ext>
            </a:extLst>
          </p:cNvPr>
          <p:cNvGrpSpPr/>
          <p:nvPr/>
        </p:nvGrpSpPr>
        <p:grpSpPr>
          <a:xfrm>
            <a:off x="503671" y="2480310"/>
            <a:ext cx="6756400" cy="2057399"/>
            <a:chOff x="503671" y="2160270"/>
            <a:chExt cx="6756400" cy="2377439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E2AEEA3-F5FA-47A5-B083-43C2D638A779}"/>
                </a:ext>
              </a:extLst>
            </p:cNvPr>
            <p:cNvCxnSpPr>
              <a:cxnSpLocks/>
            </p:cNvCxnSpPr>
            <p:nvPr/>
          </p:nvCxnSpPr>
          <p:spPr>
            <a:xfrm>
              <a:off x="503671" y="2160270"/>
              <a:ext cx="3001429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EBA1C3D-44A0-474B-A917-B165A106E1CE}"/>
                </a:ext>
              </a:extLst>
            </p:cNvPr>
            <p:cNvCxnSpPr>
              <a:cxnSpLocks/>
            </p:cNvCxnSpPr>
            <p:nvPr/>
          </p:nvCxnSpPr>
          <p:spPr>
            <a:xfrm>
              <a:off x="503671" y="2988539"/>
              <a:ext cx="3001429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C4F0475-4219-474F-AF99-5061514043DC}"/>
                </a:ext>
              </a:extLst>
            </p:cNvPr>
            <p:cNvCxnSpPr>
              <a:cxnSpLocks/>
            </p:cNvCxnSpPr>
            <p:nvPr/>
          </p:nvCxnSpPr>
          <p:spPr>
            <a:xfrm>
              <a:off x="503671" y="3832146"/>
              <a:ext cx="3001429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6BD0D73-3735-4183-B41A-03D0EA3B94A8}"/>
                </a:ext>
              </a:extLst>
            </p:cNvPr>
            <p:cNvCxnSpPr>
              <a:cxnSpLocks/>
            </p:cNvCxnSpPr>
            <p:nvPr/>
          </p:nvCxnSpPr>
          <p:spPr>
            <a:xfrm>
              <a:off x="503671" y="4537709"/>
              <a:ext cx="3001429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83BEA42-FEB0-46F5-90B6-18A2F608B761}"/>
                </a:ext>
              </a:extLst>
            </p:cNvPr>
            <p:cNvGrpSpPr>
              <a:grpSpLocks/>
            </p:cNvGrpSpPr>
            <p:nvPr/>
          </p:nvGrpSpPr>
          <p:grpSpPr>
            <a:xfrm>
              <a:off x="4018673" y="2160270"/>
              <a:ext cx="3241398" cy="2377439"/>
              <a:chOff x="3095626" y="2689771"/>
              <a:chExt cx="3264789" cy="1476375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769E613E-4D8A-4564-9139-B70AAD7457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95626" y="2689771"/>
                <a:ext cx="3264789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03AF9835-5A7B-456E-9A60-C76A4A84D8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95626" y="3204121"/>
                <a:ext cx="3264789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EE9141E0-01E3-4F1B-8455-0C932748C9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95626" y="3727996"/>
                <a:ext cx="3264789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BB92940-0246-48DD-AD70-0653F5F93A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95626" y="4166146"/>
                <a:ext cx="3264789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2" name="Rectangle 2">
            <a:extLst>
              <a:ext uri="{FF2B5EF4-FFF2-40B4-BE49-F238E27FC236}">
                <a16:creationId xmlns:a16="http://schemas.microsoft.com/office/drawing/2014/main" id="{290152B5-9EB6-41B5-A59E-5B3EFA10F405}"/>
              </a:ext>
            </a:extLst>
          </p:cNvPr>
          <p:cNvPicPr>
            <a:picLocks/>
          </p:cNvPicPr>
          <p:nvPr/>
        </p:nvPicPr>
        <p:blipFill rotWithShape="1">
          <a:blip r:embed="rId10">
            <a:lum bright="1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5000"/>
                    </a14:imgEffect>
                    <a14:imgEffect>
                      <a14:colorTemperature colorTemp="6250"/>
                    </a14:imgEffect>
                  </a14:imgLayer>
                </a14:imgProps>
              </a:ext>
            </a:extLst>
          </a:blip>
          <a:srcRect l="5060" t="15989" r="15303" b="5746"/>
          <a:stretch/>
        </p:blipFill>
        <p:spPr>
          <a:xfrm>
            <a:off x="0" y="4959000"/>
            <a:ext cx="7772400" cy="50994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4C2A36F-AE2B-4639-8934-89D43A636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95300"/>
            <a:ext cx="6756400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Case group assignment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51DD1FE7-2932-435A-9FE4-75BA815497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-7162800" y="1510571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0" dirty="0">
              <a:latin typeface="+mn-lt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FEBA697-149D-4248-BC4E-ABBD7891986B}"/>
              </a:ext>
            </a:extLst>
          </p:cNvPr>
          <p:cNvCxnSpPr>
            <a:cxnSpLocks/>
          </p:cNvCxnSpPr>
          <p:nvPr/>
        </p:nvCxnSpPr>
        <p:spPr>
          <a:xfrm>
            <a:off x="503670" y="1931670"/>
            <a:ext cx="6756400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A623FF00-5418-4419-96E8-00EFBEE9C45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08000" y="1013996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1" dirty="0"/>
              <a:t>Template: Recommend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444D7AC-6DF0-49A1-AD78-79FFE5DBF90E}"/>
              </a:ext>
            </a:extLst>
          </p:cNvPr>
          <p:cNvSpPr txBox="1"/>
          <p:nvPr/>
        </p:nvSpPr>
        <p:spPr>
          <a:xfrm>
            <a:off x="544242" y="9436348"/>
            <a:ext cx="66476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tr-TR" sz="1400" i="1" dirty="0"/>
              <a:t>*</a:t>
            </a:r>
            <a:r>
              <a:rPr lang="en-GB" sz="1400" i="1" dirty="0">
                <a:solidFill>
                  <a:srgbClr val="000000"/>
                </a:solidFill>
              </a:rPr>
              <a:t> A ppt version of </a:t>
            </a:r>
            <a:r>
              <a:rPr lang="en-GB" sz="1400" i="1" dirty="0" err="1">
                <a:solidFill>
                  <a:srgbClr val="000000"/>
                </a:solidFill>
              </a:rPr>
              <a:t>th</a:t>
            </a:r>
            <a:r>
              <a:rPr lang="tr-TR" sz="1400" i="1" dirty="0">
                <a:solidFill>
                  <a:srgbClr val="000000"/>
                </a:solidFill>
              </a:rPr>
              <a:t>is page </a:t>
            </a:r>
            <a:r>
              <a:rPr lang="en-GB" sz="1400" i="1" dirty="0">
                <a:solidFill>
                  <a:srgbClr val="000000"/>
                </a:solidFill>
              </a:rPr>
              <a:t>can be downloaded from the ‘Urban Congestion Case Group Assignment section’ in your Learning Platform</a:t>
            </a:r>
            <a:endParaRPr lang="tr-TR" sz="1400" i="1" dirty="0"/>
          </a:p>
        </p:txBody>
      </p:sp>
    </p:spTree>
    <p:extLst>
      <p:ext uri="{BB962C8B-B14F-4D97-AF65-F5344CB8AC3E}">
        <p14:creationId xmlns:p14="http://schemas.microsoft.com/office/powerpoint/2010/main" val="1911653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27C32479-DAE0-40A5-91A0-B1A1FAC6D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13" y="2844225"/>
          <a:ext cx="1012" cy="1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8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27C32479-DAE0-40A5-91A0-B1A1FAC6D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844225"/>
                        <a:ext cx="1012" cy="1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6B99259D-7D93-4FC0-8556-8E1E61A9A9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843213"/>
            <a:ext cx="101203" cy="10120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82930">
              <a:spcBef>
                <a:spcPts val="191"/>
              </a:spcBef>
              <a:spcAft>
                <a:spcPts val="191"/>
              </a:spcAft>
            </a:pPr>
            <a:endParaRPr lang="en-US" sz="2200" b="1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5DF8C7C-ED71-4EB8-83A8-E84C92D03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95300"/>
            <a:ext cx="6756400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Case group assignment</a:t>
            </a:r>
          </a:p>
        </p:txBody>
      </p:sp>
      <p:sp>
        <p:nvSpPr>
          <p:cNvPr id="83" name="2. Slide Title">
            <a:extLst>
              <a:ext uri="{FF2B5EF4-FFF2-40B4-BE49-F238E27FC236}">
                <a16:creationId xmlns:a16="http://schemas.microsoft.com/office/drawing/2014/main" id="{0AEE9A88-0A85-432A-BBFB-2A26924066B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-4635500" y="2863058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0" dirty="0">
              <a:latin typeface="+mn-lt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3FAB596-92E5-4EF8-A4D9-4936E2476A69}"/>
              </a:ext>
            </a:extLst>
          </p:cNvPr>
          <p:cNvSpPr txBox="1">
            <a:spLocks/>
          </p:cNvSpPr>
          <p:nvPr/>
        </p:nvSpPr>
        <p:spPr>
          <a:xfrm>
            <a:off x="508000" y="2951577"/>
            <a:ext cx="564257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200" b="1" dirty="0">
                <a:latin typeface="Arial" panose="020B0604020202020204" pitchFamily="34" charset="0"/>
              </a:rPr>
              <a:t>Planner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57DCC40-8F3B-4942-AFC2-6B554AF83772}"/>
              </a:ext>
            </a:extLst>
          </p:cNvPr>
          <p:cNvSpPr txBox="1">
            <a:spLocks/>
          </p:cNvSpPr>
          <p:nvPr/>
        </p:nvSpPr>
        <p:spPr>
          <a:xfrm>
            <a:off x="3301202" y="2951577"/>
            <a:ext cx="1169997" cy="18466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200" b="1" dirty="0">
                <a:latin typeface="Arial" panose="020B0604020202020204" pitchFamily="34" charset="0"/>
              </a:rPr>
              <a:t>Reporter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774CC383-6BB0-4F02-A7F5-F4A72DB81997}"/>
              </a:ext>
            </a:extLst>
          </p:cNvPr>
          <p:cNvSpPr txBox="1">
            <a:spLocks/>
          </p:cNvSpPr>
          <p:nvPr/>
        </p:nvSpPr>
        <p:spPr>
          <a:xfrm>
            <a:off x="4697803" y="2951577"/>
            <a:ext cx="1169997" cy="18466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200" b="1" dirty="0">
                <a:latin typeface="Arial" panose="020B0604020202020204" pitchFamily="34" charset="0"/>
              </a:rPr>
              <a:t>Builder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94DA9C1-C9FB-4836-B640-289B677722B1}"/>
              </a:ext>
            </a:extLst>
          </p:cNvPr>
          <p:cNvSpPr txBox="1">
            <a:spLocks/>
          </p:cNvSpPr>
          <p:nvPr/>
        </p:nvSpPr>
        <p:spPr>
          <a:xfrm>
            <a:off x="1904601" y="2951577"/>
            <a:ext cx="1169997" cy="18466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200" b="1" dirty="0">
                <a:latin typeface="Arial" panose="020B0604020202020204" pitchFamily="34" charset="0"/>
              </a:rPr>
              <a:t>Facilitator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0EF7E8A-0920-4F1F-A392-5FBF3D7DF1D1}"/>
              </a:ext>
            </a:extLst>
          </p:cNvPr>
          <p:cNvSpPr txBox="1">
            <a:spLocks/>
          </p:cNvSpPr>
          <p:nvPr/>
        </p:nvSpPr>
        <p:spPr>
          <a:xfrm>
            <a:off x="6094403" y="2951577"/>
            <a:ext cx="1169997" cy="18466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200" b="1" dirty="0">
                <a:latin typeface="Arial" panose="020B0604020202020204" pitchFamily="34" charset="0"/>
              </a:rPr>
              <a:t>Messenger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83C1179-3C17-4DE8-8321-3FB14BD93A07}"/>
              </a:ext>
            </a:extLst>
          </p:cNvPr>
          <p:cNvSpPr txBox="1">
            <a:spLocks/>
          </p:cNvSpPr>
          <p:nvPr/>
        </p:nvSpPr>
        <p:spPr>
          <a:xfrm>
            <a:off x="508000" y="1476010"/>
            <a:ext cx="1169997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 panose="020B0604020202020204" pitchFamily="34" charset="0"/>
              </a:rPr>
              <a:t>Before the meeting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4A107BD-7196-462C-977E-C0C8FEE71EB9}"/>
              </a:ext>
            </a:extLst>
          </p:cNvPr>
          <p:cNvSpPr txBox="1">
            <a:spLocks/>
          </p:cNvSpPr>
          <p:nvPr/>
        </p:nvSpPr>
        <p:spPr>
          <a:xfrm>
            <a:off x="1829389" y="1691453"/>
            <a:ext cx="4113625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 panose="020B0604020202020204" pitchFamily="34" charset="0"/>
              </a:rPr>
              <a:t>During the meeting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6C265A2-6C2C-4146-AB84-2353C34026BC}"/>
              </a:ext>
            </a:extLst>
          </p:cNvPr>
          <p:cNvGrpSpPr>
            <a:grpSpLocks/>
          </p:cNvGrpSpPr>
          <p:nvPr/>
        </p:nvGrpSpPr>
        <p:grpSpPr>
          <a:xfrm>
            <a:off x="508000" y="7942433"/>
            <a:ext cx="1169997" cy="447028"/>
            <a:chOff x="508000" y="8582390"/>
            <a:chExt cx="1033473" cy="447028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CCC865F5-5057-42EA-8F13-C30261374CDA}"/>
                </a:ext>
              </a:extLst>
            </p:cNvPr>
            <p:cNvSpPr txBox="1">
              <a:spLocks/>
            </p:cNvSpPr>
            <p:nvPr/>
          </p:nvSpPr>
          <p:spPr>
            <a:xfrm>
              <a:off x="508000" y="8660086"/>
              <a:ext cx="103347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537070">
                <a:spcBef>
                  <a:spcPts val="176"/>
                </a:spcBef>
                <a:spcAft>
                  <a:spcPts val="176"/>
                </a:spcAft>
                <a:defRPr/>
              </a:pPr>
              <a:r>
                <a:rPr lang="en-US" sz="1200" b="1" dirty="0">
                  <a:latin typeface="Arial" panose="020B0604020202020204" pitchFamily="34" charset="0"/>
                </a:rPr>
                <a:t>You did a great job at….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444D9728-ECC0-4005-899C-AEE1FE47EF1D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" y="8582390"/>
              <a:ext cx="1033473" cy="0"/>
            </a:xfrm>
            <a:prstGeom prst="line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2C9D1659-5B59-4562-8F3B-5E10C21D80F3}"/>
              </a:ext>
            </a:extLst>
          </p:cNvPr>
          <p:cNvSpPr txBox="1">
            <a:spLocks/>
          </p:cNvSpPr>
          <p:nvPr/>
        </p:nvSpPr>
        <p:spPr>
          <a:xfrm>
            <a:off x="6094403" y="1476010"/>
            <a:ext cx="1169997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53707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400" b="1" dirty="0">
                <a:latin typeface="Arial" panose="020B0604020202020204" pitchFamily="34" charset="0"/>
              </a:rPr>
              <a:t>After the meeting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160F369-3D22-4614-A9B3-0084C6A88729}"/>
              </a:ext>
            </a:extLst>
          </p:cNvPr>
          <p:cNvCxnSpPr>
            <a:cxnSpLocks/>
          </p:cNvCxnSpPr>
          <p:nvPr/>
        </p:nvCxnSpPr>
        <p:spPr>
          <a:xfrm>
            <a:off x="1791299" y="2115967"/>
            <a:ext cx="0" cy="7437607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8C13814-C7B5-4EEA-BAE0-161F393BE5C4}"/>
              </a:ext>
            </a:extLst>
          </p:cNvPr>
          <p:cNvCxnSpPr>
            <a:cxnSpLocks/>
          </p:cNvCxnSpPr>
          <p:nvPr/>
        </p:nvCxnSpPr>
        <p:spPr>
          <a:xfrm flipH="1">
            <a:off x="5981102" y="2115967"/>
            <a:ext cx="0" cy="7437607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85005032-0651-4873-BAA2-0E1C768C8B12}"/>
              </a:ext>
            </a:extLst>
          </p:cNvPr>
          <p:cNvCxnSpPr>
            <a:cxnSpLocks/>
          </p:cNvCxnSpPr>
          <p:nvPr/>
        </p:nvCxnSpPr>
        <p:spPr>
          <a:xfrm flipH="1">
            <a:off x="4584501" y="2115967"/>
            <a:ext cx="0" cy="7437607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4CDF944-1A3C-419A-BED1-623A00044D0E}"/>
              </a:ext>
            </a:extLst>
          </p:cNvPr>
          <p:cNvCxnSpPr>
            <a:cxnSpLocks/>
          </p:cNvCxnSpPr>
          <p:nvPr/>
        </p:nvCxnSpPr>
        <p:spPr>
          <a:xfrm flipH="1">
            <a:off x="3187900" y="2115967"/>
            <a:ext cx="0" cy="7437607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LineBasicStrong 12">
            <a:extLst>
              <a:ext uri="{FF2B5EF4-FFF2-40B4-BE49-F238E27FC236}">
                <a16:creationId xmlns:a16="http://schemas.microsoft.com/office/drawing/2014/main" id="{6F2341F1-1E46-45C3-8807-F19A66AD1D9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08000" y="1976747"/>
            <a:ext cx="6756400" cy="0"/>
          </a:xfrm>
          <a:prstGeom prst="straightConnector1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968A825-A008-4A08-BE31-5728D585FF3F}"/>
              </a:ext>
            </a:extLst>
          </p:cNvPr>
          <p:cNvSpPr txBox="1">
            <a:spLocks/>
          </p:cNvSpPr>
          <p:nvPr/>
        </p:nvSpPr>
        <p:spPr>
          <a:xfrm>
            <a:off x="508000" y="3231271"/>
            <a:ext cx="1169997" cy="32624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Made prior settings/adjustments for the team meeting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Defined the meeting agenda and identified the meeting outcome. Shared both items prior to the meeting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Kept the time during the mee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3CA55F-90A4-4457-BB14-927DB9BE0AF4}"/>
              </a:ext>
            </a:extLst>
          </p:cNvPr>
          <p:cNvSpPr txBox="1">
            <a:spLocks/>
          </p:cNvSpPr>
          <p:nvPr/>
        </p:nvSpPr>
        <p:spPr>
          <a:xfrm>
            <a:off x="1904601" y="3231271"/>
            <a:ext cx="1283298" cy="44319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Guided the team discussio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Intervened to monitor the interaction of the team member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Pushed thinking within the group members to discuss on the tasks: 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Problem Statement worksheet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Issue tree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Prioritization matrix</a:t>
            </a:r>
            <a:endParaRPr lang="tr-TR" sz="1200" dirty="0"/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tr-TR" sz="1200" dirty="0"/>
              <a:t>Recommen-dation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C5EA63-5DF1-43E0-98E3-43AA81A76D4C}"/>
              </a:ext>
            </a:extLst>
          </p:cNvPr>
          <p:cNvSpPr txBox="1">
            <a:spLocks/>
          </p:cNvSpPr>
          <p:nvPr/>
        </p:nvSpPr>
        <p:spPr>
          <a:xfrm>
            <a:off x="3301202" y="3231271"/>
            <a:ext cx="1169997" cy="2369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Documented the discussion </a:t>
            </a:r>
            <a:br>
              <a:rPr lang="en-US" sz="1200" dirty="0"/>
            </a:br>
            <a:r>
              <a:rPr lang="en-US" sz="1200" dirty="0"/>
              <a:t>by filling out the provided templates through synthesizing team idea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Aligned with all team members on the ideas document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E59A97-B990-4AE8-A6F8-B5CC8A05BD2D}"/>
              </a:ext>
            </a:extLst>
          </p:cNvPr>
          <p:cNvSpPr txBox="1">
            <a:spLocks/>
          </p:cNvSpPr>
          <p:nvPr/>
        </p:nvSpPr>
        <p:spPr>
          <a:xfrm>
            <a:off x="4697803" y="3231271"/>
            <a:ext cx="1169997" cy="34163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Reviewed the discussion and summarized back to team member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Made sure everyone was aligned on the next step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Collected final feedback from team member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Got commitments from </a:t>
            </a:r>
            <a:br>
              <a:rPr lang="en-US" sz="1200" dirty="0"/>
            </a:br>
            <a:r>
              <a:rPr lang="en-US" sz="1200" dirty="0"/>
              <a:t>each memb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C9BD9C-468F-449E-8238-775B8D5C87D4}"/>
              </a:ext>
            </a:extLst>
          </p:cNvPr>
          <p:cNvSpPr txBox="1">
            <a:spLocks/>
          </p:cNvSpPr>
          <p:nvPr/>
        </p:nvSpPr>
        <p:spPr>
          <a:xfrm>
            <a:off x="6094403" y="3231271"/>
            <a:ext cx="1169997" cy="23391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Shared memo and thank you note with the team after the meeting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Communicated with </a:t>
            </a:r>
            <a:br>
              <a:rPr lang="en-US" sz="1200" dirty="0"/>
            </a:br>
            <a:r>
              <a:rPr lang="en-US" sz="1200" dirty="0"/>
              <a:t>the </a:t>
            </a:r>
            <a:r>
              <a:rPr lang="tr-TR" sz="1200" dirty="0"/>
              <a:t>coach</a:t>
            </a:r>
            <a:r>
              <a:rPr lang="en-US" sz="1200" dirty="0"/>
              <a:t> frequently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200" dirty="0"/>
              <a:t>Uploaded the final projec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5F99EEA-F416-4F97-A64E-DD825CFCE4AD}"/>
              </a:ext>
            </a:extLst>
          </p:cNvPr>
          <p:cNvGrpSpPr>
            <a:grpSpLocks/>
          </p:cNvGrpSpPr>
          <p:nvPr/>
        </p:nvGrpSpPr>
        <p:grpSpPr>
          <a:xfrm>
            <a:off x="1904601" y="7942433"/>
            <a:ext cx="1169997" cy="447028"/>
            <a:chOff x="2355850" y="8582390"/>
            <a:chExt cx="1033473" cy="447028"/>
          </a:xfrm>
        </p:grpSpPr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5AC8B28C-806C-4E9E-B45F-EE931A2668DE}"/>
                </a:ext>
              </a:extLst>
            </p:cNvPr>
            <p:cNvSpPr txBox="1">
              <a:spLocks/>
            </p:cNvSpPr>
            <p:nvPr/>
          </p:nvSpPr>
          <p:spPr>
            <a:xfrm>
              <a:off x="2355850" y="8660086"/>
              <a:ext cx="103347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537070">
                <a:spcBef>
                  <a:spcPts val="176"/>
                </a:spcBef>
                <a:spcAft>
                  <a:spcPts val="176"/>
                </a:spcAft>
                <a:defRPr/>
              </a:pPr>
              <a:r>
                <a:rPr lang="en-US" sz="1200" b="1" dirty="0">
                  <a:latin typeface="Arial" panose="020B0604020202020204" pitchFamily="34" charset="0"/>
                </a:rPr>
                <a:t>You did a great job at….</a:t>
              </a: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FBBEA59A-1633-4D92-A047-90A99FC3BA1C}"/>
                </a:ext>
              </a:extLst>
            </p:cNvPr>
            <p:cNvCxnSpPr>
              <a:cxnSpLocks/>
            </p:cNvCxnSpPr>
            <p:nvPr/>
          </p:nvCxnSpPr>
          <p:spPr>
            <a:xfrm>
              <a:off x="2355850" y="8582390"/>
              <a:ext cx="1033473" cy="0"/>
            </a:xfrm>
            <a:prstGeom prst="line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B6F82810-BB34-4F81-97CD-B0B0826F9BC7}"/>
              </a:ext>
            </a:extLst>
          </p:cNvPr>
          <p:cNvGrpSpPr>
            <a:grpSpLocks/>
          </p:cNvGrpSpPr>
          <p:nvPr/>
        </p:nvGrpSpPr>
        <p:grpSpPr>
          <a:xfrm>
            <a:off x="3301202" y="7942433"/>
            <a:ext cx="1169997" cy="447028"/>
            <a:chOff x="2355850" y="8582390"/>
            <a:chExt cx="1033473" cy="447028"/>
          </a:xfrm>
        </p:grpSpPr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53BE36A8-8A30-4F24-89DE-5CE2AF77213E}"/>
                </a:ext>
              </a:extLst>
            </p:cNvPr>
            <p:cNvSpPr txBox="1">
              <a:spLocks/>
            </p:cNvSpPr>
            <p:nvPr/>
          </p:nvSpPr>
          <p:spPr>
            <a:xfrm>
              <a:off x="2355850" y="8660086"/>
              <a:ext cx="103347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537070">
                <a:spcBef>
                  <a:spcPts val="176"/>
                </a:spcBef>
                <a:spcAft>
                  <a:spcPts val="176"/>
                </a:spcAft>
                <a:defRPr/>
              </a:pPr>
              <a:r>
                <a:rPr lang="en-US" sz="1200" b="1" dirty="0">
                  <a:latin typeface="Arial" panose="020B0604020202020204" pitchFamily="34" charset="0"/>
                </a:rPr>
                <a:t>You did a great job at….</a:t>
              </a:r>
            </a:p>
          </p:txBody>
        </p: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F1B33DC0-5579-4166-A762-49F8C0B77576}"/>
                </a:ext>
              </a:extLst>
            </p:cNvPr>
            <p:cNvCxnSpPr>
              <a:cxnSpLocks/>
            </p:cNvCxnSpPr>
            <p:nvPr/>
          </p:nvCxnSpPr>
          <p:spPr>
            <a:xfrm>
              <a:off x="2355850" y="8582390"/>
              <a:ext cx="1033473" cy="0"/>
            </a:xfrm>
            <a:prstGeom prst="line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19450775-4D5C-4E39-BC71-2E2335CF24F9}"/>
              </a:ext>
            </a:extLst>
          </p:cNvPr>
          <p:cNvGrpSpPr>
            <a:grpSpLocks/>
          </p:cNvGrpSpPr>
          <p:nvPr/>
        </p:nvGrpSpPr>
        <p:grpSpPr>
          <a:xfrm>
            <a:off x="4697803" y="7942433"/>
            <a:ext cx="1169997" cy="447028"/>
            <a:chOff x="2355850" y="8582390"/>
            <a:chExt cx="1033473" cy="447028"/>
          </a:xfrm>
        </p:grpSpPr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1343A1A5-009F-4C5E-B342-1D9094E7F4AC}"/>
                </a:ext>
              </a:extLst>
            </p:cNvPr>
            <p:cNvSpPr txBox="1">
              <a:spLocks/>
            </p:cNvSpPr>
            <p:nvPr/>
          </p:nvSpPr>
          <p:spPr>
            <a:xfrm>
              <a:off x="2355850" y="8660086"/>
              <a:ext cx="103347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537070">
                <a:spcBef>
                  <a:spcPts val="176"/>
                </a:spcBef>
                <a:spcAft>
                  <a:spcPts val="176"/>
                </a:spcAft>
                <a:defRPr/>
              </a:pPr>
              <a:r>
                <a:rPr lang="en-US" sz="1200" b="1" dirty="0">
                  <a:latin typeface="Arial" panose="020B0604020202020204" pitchFamily="34" charset="0"/>
                </a:rPr>
                <a:t>You did a great job at….</a:t>
              </a: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B03FCE30-B39C-4BC5-B47D-776360291C21}"/>
                </a:ext>
              </a:extLst>
            </p:cNvPr>
            <p:cNvCxnSpPr>
              <a:cxnSpLocks/>
            </p:cNvCxnSpPr>
            <p:nvPr/>
          </p:nvCxnSpPr>
          <p:spPr>
            <a:xfrm>
              <a:off x="2355850" y="8582390"/>
              <a:ext cx="1033473" cy="0"/>
            </a:xfrm>
            <a:prstGeom prst="line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2182F274-3DE9-4D53-A37E-1093A544E961}"/>
              </a:ext>
            </a:extLst>
          </p:cNvPr>
          <p:cNvGrpSpPr>
            <a:grpSpLocks/>
          </p:cNvGrpSpPr>
          <p:nvPr/>
        </p:nvGrpSpPr>
        <p:grpSpPr>
          <a:xfrm>
            <a:off x="6094403" y="7942433"/>
            <a:ext cx="1169997" cy="447028"/>
            <a:chOff x="2355850" y="8582390"/>
            <a:chExt cx="1033473" cy="447028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97A05303-9169-433F-8147-2B4783870AC3}"/>
                </a:ext>
              </a:extLst>
            </p:cNvPr>
            <p:cNvSpPr txBox="1">
              <a:spLocks/>
            </p:cNvSpPr>
            <p:nvPr/>
          </p:nvSpPr>
          <p:spPr>
            <a:xfrm>
              <a:off x="2355850" y="8660086"/>
              <a:ext cx="103347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537070">
                <a:spcBef>
                  <a:spcPts val="176"/>
                </a:spcBef>
                <a:spcAft>
                  <a:spcPts val="176"/>
                </a:spcAft>
                <a:defRPr/>
              </a:pPr>
              <a:r>
                <a:rPr lang="en-US" sz="1200" b="1" dirty="0">
                  <a:latin typeface="Arial" panose="020B0604020202020204" pitchFamily="34" charset="0"/>
                </a:rPr>
                <a:t>You did a great job at….</a:t>
              </a:r>
            </a:p>
          </p:txBody>
        </p: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4959D670-F140-4DE9-AEA4-ECCCFEC393E0}"/>
                </a:ext>
              </a:extLst>
            </p:cNvPr>
            <p:cNvCxnSpPr>
              <a:cxnSpLocks/>
            </p:cNvCxnSpPr>
            <p:nvPr/>
          </p:nvCxnSpPr>
          <p:spPr>
            <a:xfrm>
              <a:off x="2355850" y="8582390"/>
              <a:ext cx="1033473" cy="0"/>
            </a:xfrm>
            <a:prstGeom prst="line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2. Slide Title">
            <a:extLst>
              <a:ext uri="{FF2B5EF4-FFF2-40B4-BE49-F238E27FC236}">
                <a16:creationId xmlns:a16="http://schemas.microsoft.com/office/drawing/2014/main" id="{45B0AA57-48C2-46BC-B33F-A727AA09D50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08000" y="1013996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1" dirty="0"/>
              <a:t>Template: Meeting Checklist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23B0B67-B149-4C7A-BF15-808CED490AEF}"/>
              </a:ext>
            </a:extLst>
          </p:cNvPr>
          <p:cNvGrpSpPr>
            <a:grpSpLocks/>
          </p:cNvGrpSpPr>
          <p:nvPr/>
        </p:nvGrpSpPr>
        <p:grpSpPr>
          <a:xfrm>
            <a:off x="4828342" y="2074075"/>
            <a:ext cx="804005" cy="820166"/>
            <a:chOff x="7323255" y="1825330"/>
            <a:chExt cx="1356685" cy="1383955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46E056F-528B-4B6D-8E96-162513829E4C}"/>
                </a:ext>
              </a:extLst>
            </p:cNvPr>
            <p:cNvSpPr>
              <a:spLocks/>
            </p:cNvSpPr>
            <p:nvPr/>
          </p:nvSpPr>
          <p:spPr>
            <a:xfrm>
              <a:off x="7323255" y="1825330"/>
              <a:ext cx="1356685" cy="1383955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D0D0D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tr-TR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9B03BFE-5994-4AE7-ABBC-E134477062B3}"/>
                </a:ext>
              </a:extLst>
            </p:cNvPr>
            <p:cNvSpPr/>
            <p:nvPr/>
          </p:nvSpPr>
          <p:spPr>
            <a:xfrm>
              <a:off x="7933042" y="2768426"/>
              <a:ext cx="145899" cy="206123"/>
            </a:xfrm>
            <a:custGeom>
              <a:avLst/>
              <a:gdLst>
                <a:gd name="connsiteX0" fmla="*/ 24689 w 145899"/>
                <a:gd name="connsiteY0" fmla="*/ 27879 h 206123"/>
                <a:gd name="connsiteX1" fmla="*/ 0 w 145899"/>
                <a:gd name="connsiteY1" fmla="*/ 206123 h 206123"/>
                <a:gd name="connsiteX2" fmla="*/ 145900 w 145899"/>
                <a:gd name="connsiteY2" fmla="*/ 206123 h 206123"/>
                <a:gd name="connsiteX3" fmla="*/ 123890 w 145899"/>
                <a:gd name="connsiteY3" fmla="*/ 0 h 20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899" h="206123">
                  <a:moveTo>
                    <a:pt x="24689" y="27879"/>
                  </a:moveTo>
                  <a:lnTo>
                    <a:pt x="0" y="206123"/>
                  </a:lnTo>
                  <a:lnTo>
                    <a:pt x="145900" y="206123"/>
                  </a:lnTo>
                  <a:lnTo>
                    <a:pt x="123890" y="0"/>
                  </a:ln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65721CD-99C2-4EF9-8B0E-FDF4724D8947}"/>
                </a:ext>
              </a:extLst>
            </p:cNvPr>
            <p:cNvSpPr>
              <a:spLocks/>
            </p:cNvSpPr>
            <p:nvPr/>
          </p:nvSpPr>
          <p:spPr>
            <a:xfrm>
              <a:off x="7774149" y="2891822"/>
              <a:ext cx="500914" cy="315885"/>
            </a:xfrm>
            <a:custGeom>
              <a:avLst/>
              <a:gdLst>
                <a:gd name="connsiteX0" fmla="*/ 293784 w 500914"/>
                <a:gd name="connsiteY0" fmla="*/ 0 h 315885"/>
                <a:gd name="connsiteX1" fmla="*/ 462587 w 500914"/>
                <a:gd name="connsiteY1" fmla="*/ 92376 h 315885"/>
                <a:gd name="connsiteX2" fmla="*/ 500577 w 500914"/>
                <a:gd name="connsiteY2" fmla="*/ 252024 h 315885"/>
                <a:gd name="connsiteX3" fmla="*/ 500914 w 500914"/>
                <a:gd name="connsiteY3" fmla="*/ 254997 h 315885"/>
                <a:gd name="connsiteX4" fmla="*/ 489158 w 500914"/>
                <a:gd name="connsiteY4" fmla="*/ 261506 h 315885"/>
                <a:gd name="connsiteX5" fmla="*/ 225116 w 500914"/>
                <a:gd name="connsiteY5" fmla="*/ 315885 h 315885"/>
                <a:gd name="connsiteX6" fmla="*/ 88406 w 500914"/>
                <a:gd name="connsiteY6" fmla="*/ 301826 h 315885"/>
                <a:gd name="connsiteX7" fmla="*/ 0 w 500914"/>
                <a:gd name="connsiteY7" fmla="*/ 273832 h 315885"/>
                <a:gd name="connsiteX8" fmla="*/ 7642 w 500914"/>
                <a:gd name="connsiteY8" fmla="*/ 242144 h 315885"/>
                <a:gd name="connsiteX9" fmla="*/ 50979 w 500914"/>
                <a:gd name="connsiteY9" fmla="*/ 81211 h 315885"/>
                <a:gd name="connsiteX10" fmla="*/ 166321 w 500914"/>
                <a:gd name="connsiteY10" fmla="*/ 10463 h 315885"/>
                <a:gd name="connsiteX11" fmla="*/ 225140 w 500914"/>
                <a:gd name="connsiteY11" fmla="*/ 81148 h 315885"/>
                <a:gd name="connsiteX12" fmla="*/ 293784 w 500914"/>
                <a:gd name="connsiteY12" fmla="*/ 0 h 315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914" h="315885">
                  <a:moveTo>
                    <a:pt x="293784" y="0"/>
                  </a:moveTo>
                  <a:cubicBezTo>
                    <a:pt x="293784" y="0"/>
                    <a:pt x="426323" y="31388"/>
                    <a:pt x="462587" y="92376"/>
                  </a:cubicBezTo>
                  <a:cubicBezTo>
                    <a:pt x="480719" y="122870"/>
                    <a:pt x="492915" y="191259"/>
                    <a:pt x="500577" y="252024"/>
                  </a:cubicBezTo>
                  <a:lnTo>
                    <a:pt x="500914" y="254997"/>
                  </a:lnTo>
                  <a:lnTo>
                    <a:pt x="489158" y="261506"/>
                  </a:lnTo>
                  <a:cubicBezTo>
                    <a:pt x="408002" y="296522"/>
                    <a:pt x="318776" y="315885"/>
                    <a:pt x="225116" y="315885"/>
                  </a:cubicBezTo>
                  <a:cubicBezTo>
                    <a:pt x="178286" y="315885"/>
                    <a:pt x="132565" y="311044"/>
                    <a:pt x="88406" y="301826"/>
                  </a:cubicBezTo>
                  <a:lnTo>
                    <a:pt x="0" y="273832"/>
                  </a:lnTo>
                  <a:lnTo>
                    <a:pt x="7642" y="242144"/>
                  </a:lnTo>
                  <a:cubicBezTo>
                    <a:pt x="22672" y="180557"/>
                    <a:pt x="40357" y="111419"/>
                    <a:pt x="50979" y="81211"/>
                  </a:cubicBezTo>
                  <a:cubicBezTo>
                    <a:pt x="72287" y="20733"/>
                    <a:pt x="166321" y="10463"/>
                    <a:pt x="166321" y="10463"/>
                  </a:cubicBezTo>
                  <a:cubicBezTo>
                    <a:pt x="166321" y="10463"/>
                    <a:pt x="173083" y="81148"/>
                    <a:pt x="225140" y="81148"/>
                  </a:cubicBezTo>
                  <a:cubicBezTo>
                    <a:pt x="277197" y="81148"/>
                    <a:pt x="293784" y="0"/>
                    <a:pt x="293784" y="0"/>
                  </a:cubicBezTo>
                  <a:close/>
                </a:path>
              </a:pathLst>
            </a:cu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tr-TR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D424662-24EB-467F-90BD-E1602838AF35}"/>
                </a:ext>
              </a:extLst>
            </p:cNvPr>
            <p:cNvSpPr/>
            <p:nvPr/>
          </p:nvSpPr>
          <p:spPr>
            <a:xfrm>
              <a:off x="7694332" y="2338282"/>
              <a:ext cx="600279" cy="503508"/>
            </a:xfrm>
            <a:custGeom>
              <a:avLst/>
              <a:gdLst>
                <a:gd name="connsiteX0" fmla="*/ 45793 w 600279"/>
                <a:gd name="connsiteY0" fmla="*/ 494578 h 503508"/>
                <a:gd name="connsiteX1" fmla="*/ 515327 w 600279"/>
                <a:gd name="connsiteY1" fmla="*/ 503509 h 503508"/>
                <a:gd name="connsiteX2" fmla="*/ 523301 w 600279"/>
                <a:gd name="connsiteY2" fmla="*/ 100 h 503508"/>
                <a:gd name="connsiteX3" fmla="*/ 45793 w 600279"/>
                <a:gd name="connsiteY3" fmla="*/ 494578 h 50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279" h="503508">
                  <a:moveTo>
                    <a:pt x="45793" y="494578"/>
                  </a:moveTo>
                  <a:cubicBezTo>
                    <a:pt x="45793" y="494578"/>
                    <a:pt x="496635" y="331645"/>
                    <a:pt x="515327" y="503509"/>
                  </a:cubicBezTo>
                  <a:cubicBezTo>
                    <a:pt x="646235" y="313590"/>
                    <a:pt x="607192" y="4183"/>
                    <a:pt x="523301" y="100"/>
                  </a:cubicBezTo>
                  <a:cubicBezTo>
                    <a:pt x="439347" y="-3983"/>
                    <a:pt x="-169452" y="116271"/>
                    <a:pt x="45793" y="49457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55FCB876-DAE4-44A6-AACE-3A992E395964}"/>
                </a:ext>
              </a:extLst>
            </p:cNvPr>
            <p:cNvSpPr/>
            <p:nvPr/>
          </p:nvSpPr>
          <p:spPr>
            <a:xfrm>
              <a:off x="7695596" y="2150185"/>
              <a:ext cx="530840" cy="663152"/>
            </a:xfrm>
            <a:custGeom>
              <a:avLst/>
              <a:gdLst>
                <a:gd name="connsiteX0" fmla="*/ 530841 w 530840"/>
                <a:gd name="connsiteY0" fmla="*/ 386919 h 663152"/>
                <a:gd name="connsiteX1" fmla="*/ 269471 w 530840"/>
                <a:gd name="connsiteY1" fmla="*/ 663153 h 663152"/>
                <a:gd name="connsiteX2" fmla="*/ 0 w 530840"/>
                <a:gd name="connsiteY2" fmla="*/ 386919 h 663152"/>
                <a:gd name="connsiteX3" fmla="*/ 269471 w 530840"/>
                <a:gd name="connsiteY3" fmla="*/ 0 h 663152"/>
                <a:gd name="connsiteX4" fmla="*/ 530841 w 530840"/>
                <a:gd name="connsiteY4" fmla="*/ 386919 h 66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840" h="663152">
                  <a:moveTo>
                    <a:pt x="530841" y="386919"/>
                  </a:moveTo>
                  <a:cubicBezTo>
                    <a:pt x="530841" y="600633"/>
                    <a:pt x="357701" y="663153"/>
                    <a:pt x="269471" y="663153"/>
                  </a:cubicBezTo>
                  <a:cubicBezTo>
                    <a:pt x="151769" y="663153"/>
                    <a:pt x="0" y="600633"/>
                    <a:pt x="0" y="386919"/>
                  </a:cubicBezTo>
                  <a:cubicBezTo>
                    <a:pt x="0" y="173205"/>
                    <a:pt x="120637" y="0"/>
                    <a:pt x="269471" y="0"/>
                  </a:cubicBezTo>
                  <a:cubicBezTo>
                    <a:pt x="418306" y="0"/>
                    <a:pt x="530841" y="173268"/>
                    <a:pt x="530841" y="386919"/>
                  </a:cubicBez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5B353A4-45BB-4E03-8D24-6F37DC649A46}"/>
                </a:ext>
              </a:extLst>
            </p:cNvPr>
            <p:cNvSpPr/>
            <p:nvPr/>
          </p:nvSpPr>
          <p:spPr>
            <a:xfrm>
              <a:off x="7525362" y="2054627"/>
              <a:ext cx="952470" cy="786698"/>
            </a:xfrm>
            <a:custGeom>
              <a:avLst/>
              <a:gdLst>
                <a:gd name="connsiteX0" fmla="*/ 496547 w 952470"/>
                <a:gd name="connsiteY0" fmla="*/ 199226 h 786698"/>
                <a:gd name="connsiteX1" fmla="*/ 466946 w 952470"/>
                <a:gd name="connsiteY1" fmla="*/ 130901 h 786698"/>
                <a:gd name="connsiteX2" fmla="*/ 421332 w 952470"/>
                <a:gd name="connsiteY2" fmla="*/ 144107 h 786698"/>
                <a:gd name="connsiteX3" fmla="*/ 369020 w 952470"/>
                <a:gd name="connsiteY3" fmla="*/ 194633 h 786698"/>
                <a:gd name="connsiteX4" fmla="*/ 294635 w 952470"/>
                <a:gd name="connsiteY4" fmla="*/ 238715 h 786698"/>
                <a:gd name="connsiteX5" fmla="*/ 270648 w 952470"/>
                <a:gd name="connsiteY5" fmla="*/ 324520 h 786698"/>
                <a:gd name="connsiteX6" fmla="*/ 224141 w 952470"/>
                <a:gd name="connsiteY6" fmla="*/ 391377 h 786698"/>
                <a:gd name="connsiteX7" fmla="*/ 231732 w 952470"/>
                <a:gd name="connsiteY7" fmla="*/ 472334 h 786698"/>
                <a:gd name="connsiteX8" fmla="*/ 201302 w 952470"/>
                <a:gd name="connsiteY8" fmla="*/ 554949 h 786698"/>
                <a:gd name="connsiteX9" fmla="*/ 226119 w 952470"/>
                <a:gd name="connsiteY9" fmla="*/ 643880 h 786698"/>
                <a:gd name="connsiteX10" fmla="*/ 206406 w 952470"/>
                <a:gd name="connsiteY10" fmla="*/ 715522 h 786698"/>
                <a:gd name="connsiteX11" fmla="*/ 214699 w 952470"/>
                <a:gd name="connsiteY11" fmla="*/ 778296 h 786698"/>
                <a:gd name="connsiteX12" fmla="*/ 134891 w 952470"/>
                <a:gd name="connsiteY12" fmla="*/ 737212 h 786698"/>
                <a:gd name="connsiteX13" fmla="*/ 56551 w 952470"/>
                <a:gd name="connsiteY13" fmla="*/ 683879 h 786698"/>
                <a:gd name="connsiteX14" fmla="*/ 37348 w 952470"/>
                <a:gd name="connsiteY14" fmla="*/ 595395 h 786698"/>
                <a:gd name="connsiteX15" fmla="*/ 28 w 952470"/>
                <a:gd name="connsiteY15" fmla="*/ 486305 h 786698"/>
                <a:gd name="connsiteX16" fmla="*/ 32691 w 952470"/>
                <a:gd name="connsiteY16" fmla="*/ 411090 h 786698"/>
                <a:gd name="connsiteX17" fmla="*/ 29693 w 952470"/>
                <a:gd name="connsiteY17" fmla="*/ 299895 h 786698"/>
                <a:gd name="connsiteX18" fmla="*/ 85705 w 952470"/>
                <a:gd name="connsiteY18" fmla="*/ 247264 h 786698"/>
                <a:gd name="connsiteX19" fmla="*/ 107076 w 952470"/>
                <a:gd name="connsiteY19" fmla="*/ 149912 h 786698"/>
                <a:gd name="connsiteX20" fmla="*/ 183886 w 952470"/>
                <a:gd name="connsiteY20" fmla="*/ 118206 h 786698"/>
                <a:gd name="connsiteX21" fmla="*/ 248830 w 952470"/>
                <a:gd name="connsiteY21" fmla="*/ 38334 h 786698"/>
                <a:gd name="connsiteX22" fmla="*/ 341142 w 952470"/>
                <a:gd name="connsiteY22" fmla="*/ 28573 h 786698"/>
                <a:gd name="connsiteX23" fmla="*/ 409658 w 952470"/>
                <a:gd name="connsiteY23" fmla="*/ 822 h 786698"/>
                <a:gd name="connsiteX24" fmla="*/ 466818 w 952470"/>
                <a:gd name="connsiteY24" fmla="*/ 8797 h 786698"/>
                <a:gd name="connsiteX25" fmla="*/ 609848 w 952470"/>
                <a:gd name="connsiteY25" fmla="*/ 6117 h 786698"/>
                <a:gd name="connsiteX26" fmla="*/ 686721 w 952470"/>
                <a:gd name="connsiteY26" fmla="*/ 63788 h 786698"/>
                <a:gd name="connsiteX27" fmla="*/ 730102 w 952470"/>
                <a:gd name="connsiteY27" fmla="*/ 78206 h 786698"/>
                <a:gd name="connsiteX28" fmla="*/ 771250 w 952470"/>
                <a:gd name="connsiteY28" fmla="*/ 122608 h 786698"/>
                <a:gd name="connsiteX29" fmla="*/ 819096 w 952470"/>
                <a:gd name="connsiteY29" fmla="*/ 144489 h 786698"/>
                <a:gd name="connsiteX30" fmla="*/ 837469 w 952470"/>
                <a:gd name="connsiteY30" fmla="*/ 192655 h 786698"/>
                <a:gd name="connsiteX31" fmla="*/ 883785 w 952470"/>
                <a:gd name="connsiteY31" fmla="*/ 229337 h 786698"/>
                <a:gd name="connsiteX32" fmla="*/ 902987 w 952470"/>
                <a:gd name="connsiteY32" fmla="*/ 303914 h 786698"/>
                <a:gd name="connsiteX33" fmla="*/ 951918 w 952470"/>
                <a:gd name="connsiteY33" fmla="*/ 394184 h 786698"/>
                <a:gd name="connsiteX34" fmla="*/ 929526 w 952470"/>
                <a:gd name="connsiteY34" fmla="*/ 490196 h 786698"/>
                <a:gd name="connsiteX35" fmla="*/ 940307 w 952470"/>
                <a:gd name="connsiteY35" fmla="*/ 562987 h 786698"/>
                <a:gd name="connsiteX36" fmla="*/ 894885 w 952470"/>
                <a:gd name="connsiteY36" fmla="*/ 619574 h 786698"/>
                <a:gd name="connsiteX37" fmla="*/ 884614 w 952470"/>
                <a:gd name="connsiteY37" fmla="*/ 674182 h 786698"/>
                <a:gd name="connsiteX38" fmla="*/ 830835 w 952470"/>
                <a:gd name="connsiteY38" fmla="*/ 716096 h 786698"/>
                <a:gd name="connsiteX39" fmla="*/ 790452 w 952470"/>
                <a:gd name="connsiteY39" fmla="*/ 771343 h 786698"/>
                <a:gd name="connsiteX40" fmla="*/ 676322 w 952470"/>
                <a:gd name="connsiteY40" fmla="*/ 783400 h 786698"/>
                <a:gd name="connsiteX41" fmla="*/ 685573 w 952470"/>
                <a:gd name="connsiteY41" fmla="*/ 730896 h 786698"/>
                <a:gd name="connsiteX42" fmla="*/ 665541 w 952470"/>
                <a:gd name="connsiteY42" fmla="*/ 677053 h 786698"/>
                <a:gd name="connsiteX43" fmla="*/ 679512 w 952470"/>
                <a:gd name="connsiteY43" fmla="*/ 626464 h 786698"/>
                <a:gd name="connsiteX44" fmla="*/ 627264 w 952470"/>
                <a:gd name="connsiteY44" fmla="*/ 494279 h 786698"/>
                <a:gd name="connsiteX45" fmla="*/ 629242 w 952470"/>
                <a:gd name="connsiteY45" fmla="*/ 411026 h 786698"/>
                <a:gd name="connsiteX46" fmla="*/ 584074 w 952470"/>
                <a:gd name="connsiteY46" fmla="*/ 359161 h 786698"/>
                <a:gd name="connsiteX47" fmla="*/ 568699 w 952470"/>
                <a:gd name="connsiteY47" fmla="*/ 266339 h 786698"/>
                <a:gd name="connsiteX48" fmla="*/ 496547 w 952470"/>
                <a:gd name="connsiteY48" fmla="*/ 199226 h 78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52470" h="786698">
                  <a:moveTo>
                    <a:pt x="496547" y="199226"/>
                  </a:moveTo>
                  <a:cubicBezTo>
                    <a:pt x="469817" y="159545"/>
                    <a:pt x="466946" y="130901"/>
                    <a:pt x="466946" y="130901"/>
                  </a:cubicBezTo>
                  <a:cubicBezTo>
                    <a:pt x="450806" y="134346"/>
                    <a:pt x="421332" y="144107"/>
                    <a:pt x="421332" y="144107"/>
                  </a:cubicBezTo>
                  <a:cubicBezTo>
                    <a:pt x="421332" y="144107"/>
                    <a:pt x="388988" y="180023"/>
                    <a:pt x="369020" y="194633"/>
                  </a:cubicBezTo>
                  <a:cubicBezTo>
                    <a:pt x="346245" y="211347"/>
                    <a:pt x="294635" y="238715"/>
                    <a:pt x="294635" y="238715"/>
                  </a:cubicBezTo>
                  <a:cubicBezTo>
                    <a:pt x="294635" y="238715"/>
                    <a:pt x="282705" y="296897"/>
                    <a:pt x="270648" y="324520"/>
                  </a:cubicBezTo>
                  <a:cubicBezTo>
                    <a:pt x="260121" y="348698"/>
                    <a:pt x="224141" y="391377"/>
                    <a:pt x="224141" y="391377"/>
                  </a:cubicBezTo>
                  <a:cubicBezTo>
                    <a:pt x="224141" y="391377"/>
                    <a:pt x="235433" y="444583"/>
                    <a:pt x="231732" y="472334"/>
                  </a:cubicBezTo>
                  <a:cubicBezTo>
                    <a:pt x="228160" y="499574"/>
                    <a:pt x="201302" y="554949"/>
                    <a:pt x="201302" y="554949"/>
                  </a:cubicBezTo>
                  <a:cubicBezTo>
                    <a:pt x="201302" y="554949"/>
                    <a:pt x="225098" y="617213"/>
                    <a:pt x="226119" y="643880"/>
                  </a:cubicBezTo>
                  <a:cubicBezTo>
                    <a:pt x="227203" y="671886"/>
                    <a:pt x="206406" y="715522"/>
                    <a:pt x="206406" y="715522"/>
                  </a:cubicBezTo>
                  <a:lnTo>
                    <a:pt x="214699" y="778296"/>
                  </a:lnTo>
                  <a:lnTo>
                    <a:pt x="134891" y="737212"/>
                  </a:lnTo>
                  <a:cubicBezTo>
                    <a:pt x="134891" y="737212"/>
                    <a:pt x="73456" y="706271"/>
                    <a:pt x="56551" y="683879"/>
                  </a:cubicBezTo>
                  <a:cubicBezTo>
                    <a:pt x="38751" y="660275"/>
                    <a:pt x="37348" y="595395"/>
                    <a:pt x="37348" y="595395"/>
                  </a:cubicBezTo>
                  <a:cubicBezTo>
                    <a:pt x="37348" y="595395"/>
                    <a:pt x="-1184" y="528155"/>
                    <a:pt x="28" y="486305"/>
                  </a:cubicBezTo>
                  <a:cubicBezTo>
                    <a:pt x="730" y="463019"/>
                    <a:pt x="27843" y="438012"/>
                    <a:pt x="32691" y="411090"/>
                  </a:cubicBezTo>
                  <a:cubicBezTo>
                    <a:pt x="37540" y="384169"/>
                    <a:pt x="19996" y="330772"/>
                    <a:pt x="29693" y="299895"/>
                  </a:cubicBezTo>
                  <a:cubicBezTo>
                    <a:pt x="38369" y="272399"/>
                    <a:pt x="85705" y="247264"/>
                    <a:pt x="85705" y="247264"/>
                  </a:cubicBezTo>
                  <a:cubicBezTo>
                    <a:pt x="85705" y="247264"/>
                    <a:pt x="89979" y="172049"/>
                    <a:pt x="107076" y="149912"/>
                  </a:cubicBezTo>
                  <a:cubicBezTo>
                    <a:pt x="123089" y="129243"/>
                    <a:pt x="183886" y="118206"/>
                    <a:pt x="183886" y="118206"/>
                  </a:cubicBezTo>
                  <a:cubicBezTo>
                    <a:pt x="183886" y="118206"/>
                    <a:pt x="221398" y="53581"/>
                    <a:pt x="248830" y="38334"/>
                  </a:cubicBezTo>
                  <a:cubicBezTo>
                    <a:pt x="274348" y="24108"/>
                    <a:pt x="341142" y="28573"/>
                    <a:pt x="341142" y="28573"/>
                  </a:cubicBezTo>
                  <a:cubicBezTo>
                    <a:pt x="341142" y="28573"/>
                    <a:pt x="386436" y="4076"/>
                    <a:pt x="409658" y="822"/>
                  </a:cubicBezTo>
                  <a:cubicBezTo>
                    <a:pt x="428541" y="-1857"/>
                    <a:pt x="466818" y="8797"/>
                    <a:pt x="466818" y="8797"/>
                  </a:cubicBezTo>
                  <a:cubicBezTo>
                    <a:pt x="466818" y="8797"/>
                    <a:pt x="563022" y="-9066"/>
                    <a:pt x="609848" y="6117"/>
                  </a:cubicBezTo>
                  <a:cubicBezTo>
                    <a:pt x="636067" y="14602"/>
                    <a:pt x="686721" y="63788"/>
                    <a:pt x="686721" y="63788"/>
                  </a:cubicBezTo>
                  <a:cubicBezTo>
                    <a:pt x="686721" y="63788"/>
                    <a:pt x="715939" y="68382"/>
                    <a:pt x="730102" y="78206"/>
                  </a:cubicBezTo>
                  <a:cubicBezTo>
                    <a:pt x="741840" y="86372"/>
                    <a:pt x="737374" y="94665"/>
                    <a:pt x="771250" y="122608"/>
                  </a:cubicBezTo>
                  <a:cubicBezTo>
                    <a:pt x="771250" y="122608"/>
                    <a:pt x="807613" y="132368"/>
                    <a:pt x="819096" y="144489"/>
                  </a:cubicBezTo>
                  <a:cubicBezTo>
                    <a:pt x="829686" y="155781"/>
                    <a:pt x="837469" y="192655"/>
                    <a:pt x="837469" y="192655"/>
                  </a:cubicBezTo>
                  <a:cubicBezTo>
                    <a:pt x="837469" y="192655"/>
                    <a:pt x="873131" y="211985"/>
                    <a:pt x="883785" y="229337"/>
                  </a:cubicBezTo>
                  <a:cubicBezTo>
                    <a:pt x="896416" y="249816"/>
                    <a:pt x="902987" y="303914"/>
                    <a:pt x="902987" y="303914"/>
                  </a:cubicBezTo>
                  <a:cubicBezTo>
                    <a:pt x="902987" y="303914"/>
                    <a:pt x="947580" y="364201"/>
                    <a:pt x="951918" y="394184"/>
                  </a:cubicBezTo>
                  <a:cubicBezTo>
                    <a:pt x="956639" y="426784"/>
                    <a:pt x="929526" y="490196"/>
                    <a:pt x="929526" y="490196"/>
                  </a:cubicBezTo>
                  <a:cubicBezTo>
                    <a:pt x="929526" y="490196"/>
                    <a:pt x="946942" y="539702"/>
                    <a:pt x="940307" y="562987"/>
                  </a:cubicBezTo>
                  <a:cubicBezTo>
                    <a:pt x="934693" y="582700"/>
                    <a:pt x="894885" y="619574"/>
                    <a:pt x="894885" y="619574"/>
                  </a:cubicBezTo>
                  <a:cubicBezTo>
                    <a:pt x="894885" y="619574"/>
                    <a:pt x="892907" y="660849"/>
                    <a:pt x="884614" y="674182"/>
                  </a:cubicBezTo>
                  <a:cubicBezTo>
                    <a:pt x="872174" y="694278"/>
                    <a:pt x="830835" y="716096"/>
                    <a:pt x="830835" y="716096"/>
                  </a:cubicBezTo>
                  <a:cubicBezTo>
                    <a:pt x="830835" y="716096"/>
                    <a:pt x="808953" y="760178"/>
                    <a:pt x="790452" y="771343"/>
                  </a:cubicBezTo>
                  <a:cubicBezTo>
                    <a:pt x="757917" y="790928"/>
                    <a:pt x="710708" y="787802"/>
                    <a:pt x="676322" y="783400"/>
                  </a:cubicBezTo>
                  <a:cubicBezTo>
                    <a:pt x="677343" y="764261"/>
                    <a:pt x="685573" y="730896"/>
                    <a:pt x="685573" y="730896"/>
                  </a:cubicBezTo>
                  <a:cubicBezTo>
                    <a:pt x="685573" y="730896"/>
                    <a:pt x="666562" y="694724"/>
                    <a:pt x="665541" y="677053"/>
                  </a:cubicBezTo>
                  <a:cubicBezTo>
                    <a:pt x="664520" y="659892"/>
                    <a:pt x="679512" y="626464"/>
                    <a:pt x="679512" y="626464"/>
                  </a:cubicBezTo>
                  <a:cubicBezTo>
                    <a:pt x="679512" y="626464"/>
                    <a:pt x="638938" y="537596"/>
                    <a:pt x="627264" y="494279"/>
                  </a:cubicBezTo>
                  <a:cubicBezTo>
                    <a:pt x="620182" y="467932"/>
                    <a:pt x="629242" y="411026"/>
                    <a:pt x="629242" y="411026"/>
                  </a:cubicBezTo>
                  <a:cubicBezTo>
                    <a:pt x="629242" y="411026"/>
                    <a:pt x="592176" y="377662"/>
                    <a:pt x="584074" y="359161"/>
                  </a:cubicBezTo>
                  <a:cubicBezTo>
                    <a:pt x="574313" y="336896"/>
                    <a:pt x="578779" y="285413"/>
                    <a:pt x="568699" y="266339"/>
                  </a:cubicBezTo>
                  <a:cubicBezTo>
                    <a:pt x="568763" y="266211"/>
                    <a:pt x="502671" y="208349"/>
                    <a:pt x="496547" y="199226"/>
                  </a:cubicBez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5C6CD81-61DE-44F2-974A-A9A029D46B45}"/>
                </a:ext>
              </a:extLst>
            </p:cNvPr>
            <p:cNvSpPr/>
            <p:nvPr/>
          </p:nvSpPr>
          <p:spPr>
            <a:xfrm>
              <a:off x="7591392" y="2059660"/>
              <a:ext cx="831629" cy="774730"/>
            </a:xfrm>
            <a:custGeom>
              <a:avLst/>
              <a:gdLst>
                <a:gd name="connsiteX0" fmla="*/ 831215 w 831629"/>
                <a:gd name="connsiteY0" fmla="*/ 447205 h 774730"/>
                <a:gd name="connsiteX1" fmla="*/ 776926 w 831629"/>
                <a:gd name="connsiteY1" fmla="*/ 350364 h 774730"/>
                <a:gd name="connsiteX2" fmla="*/ 769780 w 831629"/>
                <a:gd name="connsiteY2" fmla="*/ 340795 h 774730"/>
                <a:gd name="connsiteX3" fmla="*/ 755044 w 831629"/>
                <a:gd name="connsiteY3" fmla="*/ 250014 h 774730"/>
                <a:gd name="connsiteX4" fmla="*/ 692206 w 831629"/>
                <a:gd name="connsiteY4" fmla="*/ 206569 h 774730"/>
                <a:gd name="connsiteX5" fmla="*/ 657437 w 831629"/>
                <a:gd name="connsiteY5" fmla="*/ 126315 h 774730"/>
                <a:gd name="connsiteX6" fmla="*/ 592174 w 831629"/>
                <a:gd name="connsiteY6" fmla="*/ 108771 h 774730"/>
                <a:gd name="connsiteX7" fmla="*/ 531824 w 831629"/>
                <a:gd name="connsiteY7" fmla="*/ 35853 h 774730"/>
                <a:gd name="connsiteX8" fmla="*/ 418651 w 831629"/>
                <a:gd name="connsiteY8" fmla="*/ 41148 h 774730"/>
                <a:gd name="connsiteX9" fmla="*/ 425477 w 831629"/>
                <a:gd name="connsiteY9" fmla="*/ 0 h 774730"/>
                <a:gd name="connsiteX10" fmla="*/ 416801 w 831629"/>
                <a:gd name="connsiteY10" fmla="*/ 1212 h 774730"/>
                <a:gd name="connsiteX11" fmla="*/ 409273 w 831629"/>
                <a:gd name="connsiteY11" fmla="*/ 44083 h 774730"/>
                <a:gd name="connsiteX12" fmla="*/ 408827 w 831629"/>
                <a:gd name="connsiteY12" fmla="*/ 44210 h 774730"/>
                <a:gd name="connsiteX13" fmla="*/ 409082 w 831629"/>
                <a:gd name="connsiteY13" fmla="*/ 44976 h 774730"/>
                <a:gd name="connsiteX14" fmla="*/ 403978 w 831629"/>
                <a:gd name="connsiteY14" fmla="*/ 67304 h 774730"/>
                <a:gd name="connsiteX15" fmla="*/ 307647 w 831629"/>
                <a:gd name="connsiteY15" fmla="*/ 51483 h 774730"/>
                <a:gd name="connsiteX16" fmla="*/ 234410 w 831629"/>
                <a:gd name="connsiteY16" fmla="*/ 123699 h 774730"/>
                <a:gd name="connsiteX17" fmla="*/ 156899 w 831629"/>
                <a:gd name="connsiteY17" fmla="*/ 127463 h 774730"/>
                <a:gd name="connsiteX18" fmla="*/ 144331 w 831629"/>
                <a:gd name="connsiteY18" fmla="*/ 203380 h 774730"/>
                <a:gd name="connsiteX19" fmla="*/ 62163 w 831629"/>
                <a:gd name="connsiteY19" fmla="*/ 262071 h 774730"/>
                <a:gd name="connsiteX20" fmla="*/ 75687 w 831629"/>
                <a:gd name="connsiteY20" fmla="*/ 333331 h 774730"/>
                <a:gd name="connsiteX21" fmla="*/ 1493 w 831629"/>
                <a:gd name="connsiteY21" fmla="*/ 424750 h 774730"/>
                <a:gd name="connsiteX22" fmla="*/ 26182 w 831629"/>
                <a:gd name="connsiteY22" fmla="*/ 544940 h 774730"/>
                <a:gd name="connsiteX23" fmla="*/ 13040 w 831629"/>
                <a:gd name="connsiteY23" fmla="*/ 626088 h 774730"/>
                <a:gd name="connsiteX24" fmla="*/ 58654 w 831629"/>
                <a:gd name="connsiteY24" fmla="*/ 726884 h 774730"/>
                <a:gd name="connsiteX25" fmla="*/ 68861 w 831629"/>
                <a:gd name="connsiteY25" fmla="*/ 732243 h 774730"/>
                <a:gd name="connsiteX26" fmla="*/ 71413 w 831629"/>
                <a:gd name="connsiteY26" fmla="*/ 733519 h 774730"/>
                <a:gd name="connsiteX27" fmla="*/ 21142 w 831629"/>
                <a:gd name="connsiteY27" fmla="*/ 623089 h 774730"/>
                <a:gd name="connsiteX28" fmla="*/ 34795 w 831629"/>
                <a:gd name="connsiteY28" fmla="*/ 546854 h 774730"/>
                <a:gd name="connsiteX29" fmla="*/ 35688 w 831629"/>
                <a:gd name="connsiteY29" fmla="*/ 545068 h 774730"/>
                <a:gd name="connsiteX30" fmla="*/ 34922 w 831629"/>
                <a:gd name="connsiteY30" fmla="*/ 543281 h 774730"/>
                <a:gd name="connsiteX31" fmla="*/ 9978 w 831629"/>
                <a:gd name="connsiteY31" fmla="*/ 426472 h 774730"/>
                <a:gd name="connsiteX32" fmla="*/ 84300 w 831629"/>
                <a:gd name="connsiteY32" fmla="*/ 337541 h 774730"/>
                <a:gd name="connsiteX33" fmla="*/ 87808 w 831629"/>
                <a:gd name="connsiteY33" fmla="*/ 334926 h 774730"/>
                <a:gd name="connsiteX34" fmla="*/ 85129 w 831629"/>
                <a:gd name="connsiteY34" fmla="*/ 331481 h 774730"/>
                <a:gd name="connsiteX35" fmla="*/ 70456 w 831629"/>
                <a:gd name="connsiteY35" fmla="*/ 264878 h 774730"/>
                <a:gd name="connsiteX36" fmla="*/ 149626 w 831629"/>
                <a:gd name="connsiteY36" fmla="*/ 210716 h 774730"/>
                <a:gd name="connsiteX37" fmla="*/ 152242 w 831629"/>
                <a:gd name="connsiteY37" fmla="*/ 209887 h 774730"/>
                <a:gd name="connsiteX38" fmla="*/ 152624 w 831629"/>
                <a:gd name="connsiteY38" fmla="*/ 207207 h 774730"/>
                <a:gd name="connsiteX39" fmla="*/ 165383 w 831629"/>
                <a:gd name="connsiteY39" fmla="*/ 129568 h 774730"/>
                <a:gd name="connsiteX40" fmla="*/ 235239 w 831629"/>
                <a:gd name="connsiteY40" fmla="*/ 132758 h 774730"/>
                <a:gd name="connsiteX41" fmla="*/ 237919 w 831629"/>
                <a:gd name="connsiteY41" fmla="*/ 133396 h 774730"/>
                <a:gd name="connsiteX42" fmla="*/ 239577 w 831629"/>
                <a:gd name="connsiteY42" fmla="*/ 131227 h 774730"/>
                <a:gd name="connsiteX43" fmla="*/ 311539 w 831629"/>
                <a:gd name="connsiteY43" fmla="*/ 59330 h 774730"/>
                <a:gd name="connsiteX44" fmla="*/ 402001 w 831629"/>
                <a:gd name="connsiteY44" fmla="*/ 75853 h 774730"/>
                <a:gd name="connsiteX45" fmla="*/ 386562 w 831629"/>
                <a:gd name="connsiteY45" fmla="*/ 127080 h 774730"/>
                <a:gd name="connsiteX46" fmla="*/ 390645 w 831629"/>
                <a:gd name="connsiteY46" fmla="*/ 128612 h 774730"/>
                <a:gd name="connsiteX47" fmla="*/ 395621 w 831629"/>
                <a:gd name="connsiteY47" fmla="*/ 127336 h 774730"/>
                <a:gd name="connsiteX48" fmla="*/ 405063 w 831629"/>
                <a:gd name="connsiteY48" fmla="*/ 97479 h 774730"/>
                <a:gd name="connsiteX49" fmla="*/ 524870 w 831629"/>
                <a:gd name="connsiteY49" fmla="*/ 164720 h 774730"/>
                <a:gd name="connsiteX50" fmla="*/ 524998 w 831629"/>
                <a:gd name="connsiteY50" fmla="*/ 167272 h 774730"/>
                <a:gd name="connsiteX51" fmla="*/ 527231 w 831629"/>
                <a:gd name="connsiteY51" fmla="*/ 168420 h 774730"/>
                <a:gd name="connsiteX52" fmla="*/ 608761 w 831629"/>
                <a:gd name="connsiteY52" fmla="*/ 319360 h 774730"/>
                <a:gd name="connsiteX53" fmla="*/ 633450 w 831629"/>
                <a:gd name="connsiteY53" fmla="*/ 346473 h 774730"/>
                <a:gd name="connsiteX54" fmla="*/ 695140 w 831629"/>
                <a:gd name="connsiteY54" fmla="*/ 418753 h 774730"/>
                <a:gd name="connsiteX55" fmla="*/ 690674 w 831629"/>
                <a:gd name="connsiteY55" fmla="*/ 529693 h 774730"/>
                <a:gd name="connsiteX56" fmla="*/ 690100 w 831629"/>
                <a:gd name="connsiteY56" fmla="*/ 532308 h 774730"/>
                <a:gd name="connsiteX57" fmla="*/ 692142 w 831629"/>
                <a:gd name="connsiteY57" fmla="*/ 533967 h 774730"/>
                <a:gd name="connsiteX58" fmla="*/ 715172 w 831629"/>
                <a:gd name="connsiteY58" fmla="*/ 584046 h 774730"/>
                <a:gd name="connsiteX59" fmla="*/ 684678 w 831629"/>
                <a:gd name="connsiteY59" fmla="*/ 707682 h 774730"/>
                <a:gd name="connsiteX60" fmla="*/ 684040 w 831629"/>
                <a:gd name="connsiteY60" fmla="*/ 709532 h 774730"/>
                <a:gd name="connsiteX61" fmla="*/ 684997 w 831629"/>
                <a:gd name="connsiteY61" fmla="*/ 711190 h 774730"/>
                <a:gd name="connsiteX62" fmla="*/ 705858 w 831629"/>
                <a:gd name="connsiteY62" fmla="*/ 774731 h 774730"/>
                <a:gd name="connsiteX63" fmla="*/ 714279 w 831629"/>
                <a:gd name="connsiteY63" fmla="*/ 771605 h 774730"/>
                <a:gd name="connsiteX64" fmla="*/ 693418 w 831629"/>
                <a:gd name="connsiteY64" fmla="*/ 708639 h 774730"/>
                <a:gd name="connsiteX65" fmla="*/ 723784 w 831629"/>
                <a:gd name="connsiteY65" fmla="*/ 584046 h 774730"/>
                <a:gd name="connsiteX66" fmla="*/ 699606 w 831629"/>
                <a:gd name="connsiteY66" fmla="*/ 529183 h 774730"/>
                <a:gd name="connsiteX67" fmla="*/ 703497 w 831629"/>
                <a:gd name="connsiteY67" fmla="*/ 416839 h 774730"/>
                <a:gd name="connsiteX68" fmla="*/ 638809 w 831629"/>
                <a:gd name="connsiteY68" fmla="*/ 339838 h 774730"/>
                <a:gd name="connsiteX69" fmla="*/ 617246 w 831629"/>
                <a:gd name="connsiteY69" fmla="*/ 320189 h 774730"/>
                <a:gd name="connsiteX70" fmla="*/ 533164 w 831629"/>
                <a:gd name="connsiteY70" fmla="*/ 161785 h 774730"/>
                <a:gd name="connsiteX71" fmla="*/ 407296 w 831629"/>
                <a:gd name="connsiteY71" fmla="*/ 89122 h 774730"/>
                <a:gd name="connsiteX72" fmla="*/ 416673 w 831629"/>
                <a:gd name="connsiteY72" fmla="*/ 50972 h 774730"/>
                <a:gd name="connsiteX73" fmla="*/ 526146 w 831629"/>
                <a:gd name="connsiteY73" fmla="*/ 42488 h 774730"/>
                <a:gd name="connsiteX74" fmla="*/ 586242 w 831629"/>
                <a:gd name="connsiteY74" fmla="*/ 115469 h 774730"/>
                <a:gd name="connsiteX75" fmla="*/ 587326 w 831629"/>
                <a:gd name="connsiteY75" fmla="*/ 117064 h 774730"/>
                <a:gd name="connsiteX76" fmla="*/ 589240 w 831629"/>
                <a:gd name="connsiteY76" fmla="*/ 117320 h 774730"/>
                <a:gd name="connsiteX77" fmla="*/ 652206 w 831629"/>
                <a:gd name="connsiteY77" fmla="*/ 133332 h 774730"/>
                <a:gd name="connsiteX78" fmla="*/ 684486 w 831629"/>
                <a:gd name="connsiteY78" fmla="*/ 211035 h 774730"/>
                <a:gd name="connsiteX79" fmla="*/ 685060 w 831629"/>
                <a:gd name="connsiteY79" fmla="*/ 212885 h 774730"/>
                <a:gd name="connsiteX80" fmla="*/ 686783 w 831629"/>
                <a:gd name="connsiteY80" fmla="*/ 213714 h 774730"/>
                <a:gd name="connsiteX81" fmla="*/ 748218 w 831629"/>
                <a:gd name="connsiteY81" fmla="*/ 255500 h 774730"/>
                <a:gd name="connsiteX82" fmla="*/ 761168 w 831629"/>
                <a:gd name="connsiteY82" fmla="*/ 342007 h 774730"/>
                <a:gd name="connsiteX83" fmla="*/ 770100 w 831629"/>
                <a:gd name="connsiteY83" fmla="*/ 355851 h 774730"/>
                <a:gd name="connsiteX84" fmla="*/ 822667 w 831629"/>
                <a:gd name="connsiteY84" fmla="*/ 448545 h 774730"/>
                <a:gd name="connsiteX85" fmla="*/ 789238 w 831629"/>
                <a:gd name="connsiteY85" fmla="*/ 561591 h 774730"/>
                <a:gd name="connsiteX86" fmla="*/ 788409 w 831629"/>
                <a:gd name="connsiteY86" fmla="*/ 563249 h 774730"/>
                <a:gd name="connsiteX87" fmla="*/ 789047 w 831629"/>
                <a:gd name="connsiteY87" fmla="*/ 564972 h 774730"/>
                <a:gd name="connsiteX88" fmla="*/ 798169 w 831629"/>
                <a:gd name="connsiteY88" fmla="*/ 625003 h 774730"/>
                <a:gd name="connsiteX89" fmla="*/ 779222 w 831629"/>
                <a:gd name="connsiteY89" fmla="*/ 702897 h 774730"/>
                <a:gd name="connsiteX90" fmla="*/ 789685 w 831629"/>
                <a:gd name="connsiteY90" fmla="*/ 696071 h 774730"/>
                <a:gd name="connsiteX91" fmla="*/ 806463 w 831629"/>
                <a:gd name="connsiteY91" fmla="*/ 627427 h 774730"/>
                <a:gd name="connsiteX92" fmla="*/ 797787 w 831629"/>
                <a:gd name="connsiteY92" fmla="*/ 563759 h 774730"/>
                <a:gd name="connsiteX93" fmla="*/ 831215 w 831629"/>
                <a:gd name="connsiteY93" fmla="*/ 447205 h 774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831629" h="774730">
                  <a:moveTo>
                    <a:pt x="831215" y="447205"/>
                  </a:moveTo>
                  <a:cubicBezTo>
                    <a:pt x="827579" y="416647"/>
                    <a:pt x="793385" y="371863"/>
                    <a:pt x="776926" y="350364"/>
                  </a:cubicBezTo>
                  <a:cubicBezTo>
                    <a:pt x="773927" y="346409"/>
                    <a:pt x="770801" y="342390"/>
                    <a:pt x="769780" y="340795"/>
                  </a:cubicBezTo>
                  <a:cubicBezTo>
                    <a:pt x="770036" y="319423"/>
                    <a:pt x="769079" y="268196"/>
                    <a:pt x="755044" y="250014"/>
                  </a:cubicBezTo>
                  <a:cubicBezTo>
                    <a:pt x="740754" y="231450"/>
                    <a:pt x="701137" y="211035"/>
                    <a:pt x="692206" y="206569"/>
                  </a:cubicBezTo>
                  <a:cubicBezTo>
                    <a:pt x="688505" y="193874"/>
                    <a:pt x="671089" y="136905"/>
                    <a:pt x="657437" y="126315"/>
                  </a:cubicBezTo>
                  <a:cubicBezTo>
                    <a:pt x="644167" y="115980"/>
                    <a:pt x="602637" y="110111"/>
                    <a:pt x="592174" y="108771"/>
                  </a:cubicBezTo>
                  <a:cubicBezTo>
                    <a:pt x="585795" y="99712"/>
                    <a:pt x="554216" y="55566"/>
                    <a:pt x="531824" y="35853"/>
                  </a:cubicBezTo>
                  <a:cubicBezTo>
                    <a:pt x="510261" y="16842"/>
                    <a:pt x="444552" y="33556"/>
                    <a:pt x="418651" y="41148"/>
                  </a:cubicBezTo>
                  <a:cubicBezTo>
                    <a:pt x="421267" y="28261"/>
                    <a:pt x="423500" y="14290"/>
                    <a:pt x="425477" y="0"/>
                  </a:cubicBezTo>
                  <a:cubicBezTo>
                    <a:pt x="422351" y="383"/>
                    <a:pt x="419417" y="829"/>
                    <a:pt x="416801" y="1212"/>
                  </a:cubicBezTo>
                  <a:cubicBezTo>
                    <a:pt x="414696" y="16268"/>
                    <a:pt x="412080" y="30749"/>
                    <a:pt x="409273" y="44083"/>
                  </a:cubicBezTo>
                  <a:cubicBezTo>
                    <a:pt x="409146" y="44083"/>
                    <a:pt x="408954" y="44210"/>
                    <a:pt x="408827" y="44210"/>
                  </a:cubicBezTo>
                  <a:lnTo>
                    <a:pt x="409082" y="44976"/>
                  </a:lnTo>
                  <a:cubicBezTo>
                    <a:pt x="407423" y="52823"/>
                    <a:pt x="405701" y="60287"/>
                    <a:pt x="403978" y="67304"/>
                  </a:cubicBezTo>
                  <a:cubicBezTo>
                    <a:pt x="387328" y="60797"/>
                    <a:pt x="330869" y="40191"/>
                    <a:pt x="307647" y="51483"/>
                  </a:cubicBezTo>
                  <a:cubicBezTo>
                    <a:pt x="284170" y="62838"/>
                    <a:pt x="243342" y="112535"/>
                    <a:pt x="234410" y="123699"/>
                  </a:cubicBezTo>
                  <a:cubicBezTo>
                    <a:pt x="210615" y="118276"/>
                    <a:pt x="161428" y="109409"/>
                    <a:pt x="156899" y="127463"/>
                  </a:cubicBezTo>
                  <a:cubicBezTo>
                    <a:pt x="153199" y="142327"/>
                    <a:pt x="146118" y="191195"/>
                    <a:pt x="144331" y="203380"/>
                  </a:cubicBezTo>
                  <a:cubicBezTo>
                    <a:pt x="131125" y="207782"/>
                    <a:pt x="73837" y="228706"/>
                    <a:pt x="62163" y="262071"/>
                  </a:cubicBezTo>
                  <a:cubicBezTo>
                    <a:pt x="51445" y="293012"/>
                    <a:pt x="68861" y="323187"/>
                    <a:pt x="75687" y="333331"/>
                  </a:cubicBezTo>
                  <a:cubicBezTo>
                    <a:pt x="61716" y="344367"/>
                    <a:pt x="9276" y="387812"/>
                    <a:pt x="1493" y="424750"/>
                  </a:cubicBezTo>
                  <a:cubicBezTo>
                    <a:pt x="-6672" y="463346"/>
                    <a:pt x="21078" y="532563"/>
                    <a:pt x="26182" y="544940"/>
                  </a:cubicBezTo>
                  <a:cubicBezTo>
                    <a:pt x="21780" y="554446"/>
                    <a:pt x="2833" y="598400"/>
                    <a:pt x="13040" y="626088"/>
                  </a:cubicBezTo>
                  <a:cubicBezTo>
                    <a:pt x="20122" y="645290"/>
                    <a:pt x="43216" y="694540"/>
                    <a:pt x="58654" y="726884"/>
                  </a:cubicBezTo>
                  <a:cubicBezTo>
                    <a:pt x="64842" y="730202"/>
                    <a:pt x="68861" y="732243"/>
                    <a:pt x="68861" y="732243"/>
                  </a:cubicBezTo>
                  <a:lnTo>
                    <a:pt x="71413" y="733519"/>
                  </a:lnTo>
                  <a:cubicBezTo>
                    <a:pt x="56549" y="702514"/>
                    <a:pt x="28862" y="643886"/>
                    <a:pt x="21142" y="623089"/>
                  </a:cubicBezTo>
                  <a:cubicBezTo>
                    <a:pt x="11126" y="595976"/>
                    <a:pt x="34539" y="547364"/>
                    <a:pt x="34795" y="546854"/>
                  </a:cubicBezTo>
                  <a:lnTo>
                    <a:pt x="35688" y="545068"/>
                  </a:lnTo>
                  <a:lnTo>
                    <a:pt x="34922" y="543281"/>
                  </a:lnTo>
                  <a:cubicBezTo>
                    <a:pt x="34603" y="542516"/>
                    <a:pt x="1749" y="465387"/>
                    <a:pt x="9978" y="426472"/>
                  </a:cubicBezTo>
                  <a:cubicBezTo>
                    <a:pt x="18144" y="387812"/>
                    <a:pt x="83598" y="338052"/>
                    <a:pt x="84300" y="337541"/>
                  </a:cubicBezTo>
                  <a:lnTo>
                    <a:pt x="87808" y="334926"/>
                  </a:lnTo>
                  <a:lnTo>
                    <a:pt x="85129" y="331481"/>
                  </a:lnTo>
                  <a:cubicBezTo>
                    <a:pt x="84874" y="331162"/>
                    <a:pt x="59037" y="297605"/>
                    <a:pt x="70456" y="264878"/>
                  </a:cubicBezTo>
                  <a:cubicBezTo>
                    <a:pt x="81876" y="232024"/>
                    <a:pt x="148925" y="210907"/>
                    <a:pt x="149626" y="210716"/>
                  </a:cubicBezTo>
                  <a:lnTo>
                    <a:pt x="152242" y="209887"/>
                  </a:lnTo>
                  <a:lnTo>
                    <a:pt x="152624" y="207207"/>
                  </a:lnTo>
                  <a:cubicBezTo>
                    <a:pt x="152688" y="206569"/>
                    <a:pt x="161364" y="145772"/>
                    <a:pt x="165383" y="129568"/>
                  </a:cubicBezTo>
                  <a:cubicBezTo>
                    <a:pt x="167042" y="122870"/>
                    <a:pt x="199705" y="124401"/>
                    <a:pt x="235239" y="132758"/>
                  </a:cubicBezTo>
                  <a:lnTo>
                    <a:pt x="237919" y="133396"/>
                  </a:lnTo>
                  <a:lnTo>
                    <a:pt x="239577" y="131227"/>
                  </a:lnTo>
                  <a:cubicBezTo>
                    <a:pt x="240088" y="130653"/>
                    <a:pt x="287360" y="71068"/>
                    <a:pt x="311539" y="59330"/>
                  </a:cubicBezTo>
                  <a:cubicBezTo>
                    <a:pt x="329848" y="50462"/>
                    <a:pt x="380055" y="67113"/>
                    <a:pt x="402001" y="75853"/>
                  </a:cubicBezTo>
                  <a:cubicBezTo>
                    <a:pt x="394026" y="106666"/>
                    <a:pt x="386690" y="126697"/>
                    <a:pt x="386562" y="127080"/>
                  </a:cubicBezTo>
                  <a:lnTo>
                    <a:pt x="390645" y="128612"/>
                  </a:lnTo>
                  <a:cubicBezTo>
                    <a:pt x="392367" y="128165"/>
                    <a:pt x="394026" y="127718"/>
                    <a:pt x="395621" y="127336"/>
                  </a:cubicBezTo>
                  <a:cubicBezTo>
                    <a:pt x="397280" y="122615"/>
                    <a:pt x="400788" y="112152"/>
                    <a:pt x="405063" y="97479"/>
                  </a:cubicBezTo>
                  <a:cubicBezTo>
                    <a:pt x="429879" y="100350"/>
                    <a:pt x="522574" y="114449"/>
                    <a:pt x="524870" y="164720"/>
                  </a:cubicBezTo>
                  <a:lnTo>
                    <a:pt x="524998" y="167272"/>
                  </a:lnTo>
                  <a:lnTo>
                    <a:pt x="527231" y="168420"/>
                  </a:lnTo>
                  <a:cubicBezTo>
                    <a:pt x="618012" y="213077"/>
                    <a:pt x="608889" y="318275"/>
                    <a:pt x="608761" y="319360"/>
                  </a:cubicBezTo>
                  <a:cubicBezTo>
                    <a:pt x="608123" y="325611"/>
                    <a:pt x="615906" y="332182"/>
                    <a:pt x="633450" y="346473"/>
                  </a:cubicBezTo>
                  <a:cubicBezTo>
                    <a:pt x="655395" y="364335"/>
                    <a:pt x="688569" y="391384"/>
                    <a:pt x="695140" y="418753"/>
                  </a:cubicBezTo>
                  <a:cubicBezTo>
                    <a:pt x="705730" y="462835"/>
                    <a:pt x="690866" y="528991"/>
                    <a:pt x="690674" y="529693"/>
                  </a:cubicBezTo>
                  <a:lnTo>
                    <a:pt x="690100" y="532308"/>
                  </a:lnTo>
                  <a:lnTo>
                    <a:pt x="692142" y="533967"/>
                  </a:lnTo>
                  <a:cubicBezTo>
                    <a:pt x="692397" y="534158"/>
                    <a:pt x="715172" y="553489"/>
                    <a:pt x="715172" y="584046"/>
                  </a:cubicBezTo>
                  <a:cubicBezTo>
                    <a:pt x="715172" y="616008"/>
                    <a:pt x="684997" y="706789"/>
                    <a:pt x="684678" y="707682"/>
                  </a:cubicBezTo>
                  <a:lnTo>
                    <a:pt x="684040" y="709532"/>
                  </a:lnTo>
                  <a:lnTo>
                    <a:pt x="684997" y="711190"/>
                  </a:lnTo>
                  <a:cubicBezTo>
                    <a:pt x="685252" y="711637"/>
                    <a:pt x="701966" y="741813"/>
                    <a:pt x="705858" y="774731"/>
                  </a:cubicBezTo>
                  <a:cubicBezTo>
                    <a:pt x="708729" y="773774"/>
                    <a:pt x="711536" y="772753"/>
                    <a:pt x="714279" y="771605"/>
                  </a:cubicBezTo>
                  <a:cubicBezTo>
                    <a:pt x="710324" y="742004"/>
                    <a:pt x="697182" y="715592"/>
                    <a:pt x="693418" y="708639"/>
                  </a:cubicBezTo>
                  <a:cubicBezTo>
                    <a:pt x="697820" y="695305"/>
                    <a:pt x="723784" y="615242"/>
                    <a:pt x="723784" y="584046"/>
                  </a:cubicBezTo>
                  <a:cubicBezTo>
                    <a:pt x="723784" y="554701"/>
                    <a:pt x="705794" y="535052"/>
                    <a:pt x="699606" y="529183"/>
                  </a:cubicBezTo>
                  <a:cubicBezTo>
                    <a:pt x="702285" y="516360"/>
                    <a:pt x="713449" y="458497"/>
                    <a:pt x="703497" y="416839"/>
                  </a:cubicBezTo>
                  <a:cubicBezTo>
                    <a:pt x="696225" y="386536"/>
                    <a:pt x="663051" y="359551"/>
                    <a:pt x="638809" y="339838"/>
                  </a:cubicBezTo>
                  <a:cubicBezTo>
                    <a:pt x="629558" y="332310"/>
                    <a:pt x="618012" y="322868"/>
                    <a:pt x="617246" y="320189"/>
                  </a:cubicBezTo>
                  <a:cubicBezTo>
                    <a:pt x="617374" y="319041"/>
                    <a:pt x="626815" y="209695"/>
                    <a:pt x="533164" y="161785"/>
                  </a:cubicBezTo>
                  <a:cubicBezTo>
                    <a:pt x="527869" y="107176"/>
                    <a:pt x="435238" y="92312"/>
                    <a:pt x="407296" y="89122"/>
                  </a:cubicBezTo>
                  <a:cubicBezTo>
                    <a:pt x="410358" y="78085"/>
                    <a:pt x="413611" y="65199"/>
                    <a:pt x="416673" y="50972"/>
                  </a:cubicBezTo>
                  <a:cubicBezTo>
                    <a:pt x="445509" y="42169"/>
                    <a:pt x="508794" y="27177"/>
                    <a:pt x="526146" y="42488"/>
                  </a:cubicBezTo>
                  <a:cubicBezTo>
                    <a:pt x="549878" y="63413"/>
                    <a:pt x="585859" y="114959"/>
                    <a:pt x="586242" y="115469"/>
                  </a:cubicBezTo>
                  <a:lnTo>
                    <a:pt x="587326" y="117064"/>
                  </a:lnTo>
                  <a:lnTo>
                    <a:pt x="589240" y="117320"/>
                  </a:lnTo>
                  <a:cubicBezTo>
                    <a:pt x="603147" y="118978"/>
                    <a:pt x="641616" y="125103"/>
                    <a:pt x="652206" y="133332"/>
                  </a:cubicBezTo>
                  <a:cubicBezTo>
                    <a:pt x="661456" y="140541"/>
                    <a:pt x="676958" y="184815"/>
                    <a:pt x="684486" y="211035"/>
                  </a:cubicBezTo>
                  <a:lnTo>
                    <a:pt x="685060" y="212885"/>
                  </a:lnTo>
                  <a:lnTo>
                    <a:pt x="686783" y="213714"/>
                  </a:lnTo>
                  <a:cubicBezTo>
                    <a:pt x="687229" y="213906"/>
                    <a:pt x="733672" y="236553"/>
                    <a:pt x="748218" y="255500"/>
                  </a:cubicBezTo>
                  <a:cubicBezTo>
                    <a:pt x="758361" y="268642"/>
                    <a:pt x="761551" y="308387"/>
                    <a:pt x="761168" y="342007"/>
                  </a:cubicBezTo>
                  <a:cubicBezTo>
                    <a:pt x="761168" y="344112"/>
                    <a:pt x="761934" y="345197"/>
                    <a:pt x="770100" y="355851"/>
                  </a:cubicBezTo>
                  <a:cubicBezTo>
                    <a:pt x="784836" y="375117"/>
                    <a:pt x="819286" y="420284"/>
                    <a:pt x="822667" y="448545"/>
                  </a:cubicBezTo>
                  <a:cubicBezTo>
                    <a:pt x="827069" y="485291"/>
                    <a:pt x="789685" y="560889"/>
                    <a:pt x="789238" y="561591"/>
                  </a:cubicBezTo>
                  <a:lnTo>
                    <a:pt x="788409" y="563249"/>
                  </a:lnTo>
                  <a:lnTo>
                    <a:pt x="789047" y="564972"/>
                  </a:lnTo>
                  <a:cubicBezTo>
                    <a:pt x="789175" y="565354"/>
                    <a:pt x="803847" y="605035"/>
                    <a:pt x="798169" y="625003"/>
                  </a:cubicBezTo>
                  <a:cubicBezTo>
                    <a:pt x="794533" y="637635"/>
                    <a:pt x="785857" y="674189"/>
                    <a:pt x="779222" y="702897"/>
                  </a:cubicBezTo>
                  <a:cubicBezTo>
                    <a:pt x="782476" y="700856"/>
                    <a:pt x="785985" y="698559"/>
                    <a:pt x="789685" y="696071"/>
                  </a:cubicBezTo>
                  <a:cubicBezTo>
                    <a:pt x="796001" y="669150"/>
                    <a:pt x="803337" y="638464"/>
                    <a:pt x="806463" y="627427"/>
                  </a:cubicBezTo>
                  <a:cubicBezTo>
                    <a:pt x="812268" y="607140"/>
                    <a:pt x="800721" y="572117"/>
                    <a:pt x="797787" y="563759"/>
                  </a:cubicBezTo>
                  <a:cubicBezTo>
                    <a:pt x="803592" y="551702"/>
                    <a:pt x="835617" y="483760"/>
                    <a:pt x="831215" y="447205"/>
                  </a:cubicBez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2F397C2-98C5-434F-BCAF-FC904731F81B}"/>
                </a:ext>
              </a:extLst>
            </p:cNvPr>
            <p:cNvSpPr/>
            <p:nvPr/>
          </p:nvSpPr>
          <p:spPr>
            <a:xfrm>
              <a:off x="8006535" y="2412941"/>
              <a:ext cx="132120" cy="51436"/>
            </a:xfrm>
            <a:custGeom>
              <a:avLst/>
              <a:gdLst>
                <a:gd name="connsiteX0" fmla="*/ 0 w 132120"/>
                <a:gd name="connsiteY0" fmla="*/ 51436 h 51436"/>
                <a:gd name="connsiteX1" fmla="*/ 14609 w 132120"/>
                <a:gd name="connsiteY1" fmla="*/ 31787 h 51436"/>
                <a:gd name="connsiteX2" fmla="*/ 60351 w 132120"/>
                <a:gd name="connsiteY2" fmla="*/ 3590 h 51436"/>
                <a:gd name="connsiteX3" fmla="*/ 75406 w 132120"/>
                <a:gd name="connsiteY3" fmla="*/ 528 h 51436"/>
                <a:gd name="connsiteX4" fmla="*/ 90653 w 132120"/>
                <a:gd name="connsiteY4" fmla="*/ 336 h 51436"/>
                <a:gd name="connsiteX5" fmla="*/ 97990 w 132120"/>
                <a:gd name="connsiteY5" fmla="*/ 1485 h 51436"/>
                <a:gd name="connsiteX6" fmla="*/ 104880 w 132120"/>
                <a:gd name="connsiteY6" fmla="*/ 3526 h 51436"/>
                <a:gd name="connsiteX7" fmla="*/ 116427 w 132120"/>
                <a:gd name="connsiteY7" fmla="*/ 9459 h 51436"/>
                <a:gd name="connsiteX8" fmla="*/ 120892 w 132120"/>
                <a:gd name="connsiteY8" fmla="*/ 12968 h 51436"/>
                <a:gd name="connsiteX9" fmla="*/ 124465 w 132120"/>
                <a:gd name="connsiteY9" fmla="*/ 16604 h 51436"/>
                <a:gd name="connsiteX10" fmla="*/ 129186 w 132120"/>
                <a:gd name="connsiteY10" fmla="*/ 23111 h 51436"/>
                <a:gd name="connsiteX11" fmla="*/ 132120 w 132120"/>
                <a:gd name="connsiteY11" fmla="*/ 29363 h 51436"/>
                <a:gd name="connsiteX12" fmla="*/ 125932 w 132120"/>
                <a:gd name="connsiteY12" fmla="*/ 26812 h 51436"/>
                <a:gd name="connsiteX13" fmla="*/ 119106 w 132120"/>
                <a:gd name="connsiteY13" fmla="*/ 24515 h 51436"/>
                <a:gd name="connsiteX14" fmla="*/ 115087 w 132120"/>
                <a:gd name="connsiteY14" fmla="*/ 23366 h 51436"/>
                <a:gd name="connsiteX15" fmla="*/ 110621 w 132120"/>
                <a:gd name="connsiteY15" fmla="*/ 22537 h 51436"/>
                <a:gd name="connsiteX16" fmla="*/ 100924 w 132120"/>
                <a:gd name="connsiteY16" fmla="*/ 21644 h 51436"/>
                <a:gd name="connsiteX17" fmla="*/ 90334 w 132120"/>
                <a:gd name="connsiteY17" fmla="*/ 22154 h 51436"/>
                <a:gd name="connsiteX18" fmla="*/ 67304 w 132120"/>
                <a:gd name="connsiteY18" fmla="*/ 27130 h 51436"/>
                <a:gd name="connsiteX19" fmla="*/ 22328 w 132120"/>
                <a:gd name="connsiteY19" fmla="*/ 43590 h 51436"/>
                <a:gd name="connsiteX20" fmla="*/ 6316 w 132120"/>
                <a:gd name="connsiteY20" fmla="*/ 49331 h 51436"/>
                <a:gd name="connsiteX21" fmla="*/ 0 w 132120"/>
                <a:gd name="connsiteY21" fmla="*/ 51436 h 5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2120" h="51436">
                  <a:moveTo>
                    <a:pt x="0" y="51436"/>
                  </a:moveTo>
                  <a:cubicBezTo>
                    <a:pt x="0" y="51436"/>
                    <a:pt x="4338" y="42186"/>
                    <a:pt x="14609" y="31787"/>
                  </a:cubicBezTo>
                  <a:cubicBezTo>
                    <a:pt x="24689" y="21325"/>
                    <a:pt x="40829" y="9587"/>
                    <a:pt x="60351" y="3590"/>
                  </a:cubicBezTo>
                  <a:cubicBezTo>
                    <a:pt x="65263" y="2250"/>
                    <a:pt x="70303" y="974"/>
                    <a:pt x="75406" y="528"/>
                  </a:cubicBezTo>
                  <a:cubicBezTo>
                    <a:pt x="80510" y="-174"/>
                    <a:pt x="85677" y="-110"/>
                    <a:pt x="90653" y="336"/>
                  </a:cubicBezTo>
                  <a:cubicBezTo>
                    <a:pt x="93141" y="592"/>
                    <a:pt x="95629" y="1038"/>
                    <a:pt x="97990" y="1485"/>
                  </a:cubicBezTo>
                  <a:cubicBezTo>
                    <a:pt x="100350" y="2187"/>
                    <a:pt x="102646" y="2697"/>
                    <a:pt x="104880" y="3526"/>
                  </a:cubicBezTo>
                  <a:cubicBezTo>
                    <a:pt x="109281" y="5185"/>
                    <a:pt x="113109" y="7226"/>
                    <a:pt x="116427" y="9459"/>
                  </a:cubicBezTo>
                  <a:cubicBezTo>
                    <a:pt x="118021" y="10671"/>
                    <a:pt x="119552" y="11819"/>
                    <a:pt x="120892" y="12968"/>
                  </a:cubicBezTo>
                  <a:cubicBezTo>
                    <a:pt x="122168" y="14244"/>
                    <a:pt x="123380" y="15456"/>
                    <a:pt x="124465" y="16604"/>
                  </a:cubicBezTo>
                  <a:cubicBezTo>
                    <a:pt x="126570" y="18901"/>
                    <a:pt x="127973" y="21325"/>
                    <a:pt x="129186" y="23111"/>
                  </a:cubicBezTo>
                  <a:cubicBezTo>
                    <a:pt x="131291" y="27067"/>
                    <a:pt x="132120" y="29363"/>
                    <a:pt x="132120" y="29363"/>
                  </a:cubicBezTo>
                  <a:cubicBezTo>
                    <a:pt x="132120" y="29363"/>
                    <a:pt x="129632" y="28470"/>
                    <a:pt x="125932" y="26812"/>
                  </a:cubicBezTo>
                  <a:cubicBezTo>
                    <a:pt x="123954" y="26173"/>
                    <a:pt x="121658" y="25281"/>
                    <a:pt x="119106" y="24515"/>
                  </a:cubicBezTo>
                  <a:cubicBezTo>
                    <a:pt x="117830" y="24132"/>
                    <a:pt x="116490" y="23813"/>
                    <a:pt x="115087" y="23366"/>
                  </a:cubicBezTo>
                  <a:cubicBezTo>
                    <a:pt x="113683" y="23111"/>
                    <a:pt x="112216" y="22792"/>
                    <a:pt x="110621" y="22537"/>
                  </a:cubicBezTo>
                  <a:cubicBezTo>
                    <a:pt x="107559" y="22027"/>
                    <a:pt x="104305" y="21708"/>
                    <a:pt x="100924" y="21644"/>
                  </a:cubicBezTo>
                  <a:cubicBezTo>
                    <a:pt x="97543" y="21580"/>
                    <a:pt x="94034" y="21771"/>
                    <a:pt x="90334" y="22154"/>
                  </a:cubicBezTo>
                  <a:cubicBezTo>
                    <a:pt x="83062" y="22984"/>
                    <a:pt x="75215" y="24770"/>
                    <a:pt x="67304" y="27130"/>
                  </a:cubicBezTo>
                  <a:cubicBezTo>
                    <a:pt x="51483" y="31915"/>
                    <a:pt x="35215" y="38741"/>
                    <a:pt x="22328" y="43590"/>
                  </a:cubicBezTo>
                  <a:cubicBezTo>
                    <a:pt x="15885" y="46014"/>
                    <a:pt x="10335" y="48055"/>
                    <a:pt x="6316" y="49331"/>
                  </a:cubicBezTo>
                  <a:cubicBezTo>
                    <a:pt x="2488" y="50735"/>
                    <a:pt x="0" y="51436"/>
                    <a:pt x="0" y="51436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DB453F-0C6E-46CF-98E9-CF99D847FFD0}"/>
                </a:ext>
              </a:extLst>
            </p:cNvPr>
            <p:cNvSpPr/>
            <p:nvPr/>
          </p:nvSpPr>
          <p:spPr>
            <a:xfrm>
              <a:off x="7751529" y="2493514"/>
              <a:ext cx="131305" cy="83425"/>
            </a:xfrm>
            <a:custGeom>
              <a:avLst/>
              <a:gdLst>
                <a:gd name="connsiteX0" fmla="*/ 131306 w 131305"/>
                <a:gd name="connsiteY0" fmla="*/ 49842 h 83425"/>
                <a:gd name="connsiteX1" fmla="*/ 972 w 131305"/>
                <a:gd name="connsiteY1" fmla="*/ 18072 h 83425"/>
                <a:gd name="connsiteX2" fmla="*/ 131306 w 131305"/>
                <a:gd name="connsiteY2" fmla="*/ 68024 h 83425"/>
                <a:gd name="connsiteX3" fmla="*/ 131306 w 131305"/>
                <a:gd name="connsiteY3" fmla="*/ 49842 h 8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305" h="83425">
                  <a:moveTo>
                    <a:pt x="131306" y="49842"/>
                  </a:moveTo>
                  <a:cubicBezTo>
                    <a:pt x="131306" y="49842"/>
                    <a:pt x="78101" y="-36473"/>
                    <a:pt x="972" y="18072"/>
                  </a:cubicBezTo>
                  <a:cubicBezTo>
                    <a:pt x="-7704" y="72681"/>
                    <a:pt x="42184" y="104005"/>
                    <a:pt x="131306" y="68024"/>
                  </a:cubicBezTo>
                  <a:cubicBezTo>
                    <a:pt x="130221" y="59922"/>
                    <a:pt x="131306" y="49842"/>
                    <a:pt x="131306" y="49842"/>
                  </a:cubicBezTo>
                  <a:close/>
                </a:path>
              </a:pathLst>
            </a:custGeom>
            <a:solidFill>
              <a:srgbClr val="FFFFFF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2FACF18-46F4-4A6A-8B94-4FE9A4AE5E22}"/>
                </a:ext>
              </a:extLst>
            </p:cNvPr>
            <p:cNvSpPr/>
            <p:nvPr/>
          </p:nvSpPr>
          <p:spPr>
            <a:xfrm>
              <a:off x="7786058" y="2495956"/>
              <a:ext cx="82933" cy="82933"/>
            </a:xfrm>
            <a:custGeom>
              <a:avLst/>
              <a:gdLst>
                <a:gd name="connsiteX0" fmla="*/ 82934 w 82933"/>
                <a:gd name="connsiteY0" fmla="*/ 41467 h 82933"/>
                <a:gd name="connsiteX1" fmla="*/ 41467 w 82933"/>
                <a:gd name="connsiteY1" fmla="*/ 82934 h 82933"/>
                <a:gd name="connsiteX2" fmla="*/ 0 w 82933"/>
                <a:gd name="connsiteY2" fmla="*/ 41467 h 82933"/>
                <a:gd name="connsiteX3" fmla="*/ 41467 w 82933"/>
                <a:gd name="connsiteY3" fmla="*/ 0 h 82933"/>
                <a:gd name="connsiteX4" fmla="*/ 82934 w 82933"/>
                <a:gd name="connsiteY4" fmla="*/ 41467 h 8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933" h="82933">
                  <a:moveTo>
                    <a:pt x="82934" y="41467"/>
                  </a:moveTo>
                  <a:cubicBezTo>
                    <a:pt x="82934" y="64369"/>
                    <a:pt x="64369" y="82934"/>
                    <a:pt x="41467" y="82934"/>
                  </a:cubicBezTo>
                  <a:cubicBezTo>
                    <a:pt x="18564" y="82934"/>
                    <a:pt x="0" y="64369"/>
                    <a:pt x="0" y="41467"/>
                  </a:cubicBezTo>
                  <a:cubicBezTo>
                    <a:pt x="0" y="18564"/>
                    <a:pt x="18564" y="0"/>
                    <a:pt x="41467" y="0"/>
                  </a:cubicBezTo>
                  <a:cubicBezTo>
                    <a:pt x="64369" y="0"/>
                    <a:pt x="82934" y="18564"/>
                    <a:pt x="82934" y="41467"/>
                  </a:cubicBez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724602B-BD0C-4D3A-B008-18ADDFB0C392}"/>
                </a:ext>
              </a:extLst>
            </p:cNvPr>
            <p:cNvSpPr/>
            <p:nvPr/>
          </p:nvSpPr>
          <p:spPr>
            <a:xfrm>
              <a:off x="7752501" y="2494607"/>
              <a:ext cx="130333" cy="54235"/>
            </a:xfrm>
            <a:custGeom>
              <a:avLst/>
              <a:gdLst>
                <a:gd name="connsiteX0" fmla="*/ 0 w 130333"/>
                <a:gd name="connsiteY0" fmla="*/ 16979 h 54235"/>
                <a:gd name="connsiteX1" fmla="*/ 130334 w 130333"/>
                <a:gd name="connsiteY1" fmla="*/ 54235 h 54235"/>
                <a:gd name="connsiteX2" fmla="*/ 130334 w 130333"/>
                <a:gd name="connsiteY2" fmla="*/ 48749 h 54235"/>
                <a:gd name="connsiteX3" fmla="*/ 64689 w 130333"/>
                <a:gd name="connsiteY3" fmla="*/ 1349 h 54235"/>
                <a:gd name="connsiteX4" fmla="*/ 0 w 130333"/>
                <a:gd name="connsiteY4" fmla="*/ 16979 h 54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33" h="54235">
                  <a:moveTo>
                    <a:pt x="0" y="16979"/>
                  </a:moveTo>
                  <a:cubicBezTo>
                    <a:pt x="0" y="16979"/>
                    <a:pt x="60414" y="5751"/>
                    <a:pt x="130334" y="54235"/>
                  </a:cubicBezTo>
                  <a:cubicBezTo>
                    <a:pt x="130334" y="48749"/>
                    <a:pt x="130334" y="48749"/>
                    <a:pt x="130334" y="48749"/>
                  </a:cubicBezTo>
                  <a:cubicBezTo>
                    <a:pt x="130334" y="48749"/>
                    <a:pt x="108899" y="8366"/>
                    <a:pt x="64689" y="1349"/>
                  </a:cubicBezTo>
                  <a:cubicBezTo>
                    <a:pt x="20478" y="-5669"/>
                    <a:pt x="0" y="16979"/>
                    <a:pt x="0" y="16979"/>
                  </a:cubicBezTo>
                  <a:close/>
                </a:path>
              </a:pathLst>
            </a:custGeom>
            <a:solidFill>
              <a:srgbClr val="A8A8A8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CB8DF-1300-4CB1-9D01-85995DD30C43}"/>
                </a:ext>
              </a:extLst>
            </p:cNvPr>
            <p:cNvSpPr/>
            <p:nvPr/>
          </p:nvSpPr>
          <p:spPr>
            <a:xfrm>
              <a:off x="7739678" y="2475071"/>
              <a:ext cx="143156" cy="68284"/>
            </a:xfrm>
            <a:custGeom>
              <a:avLst/>
              <a:gdLst>
                <a:gd name="connsiteX0" fmla="*/ 143157 w 143156"/>
                <a:gd name="connsiteY0" fmla="*/ 68285 h 68284"/>
                <a:gd name="connsiteX1" fmla="*/ 68133 w 143156"/>
                <a:gd name="connsiteY1" fmla="*/ 88 h 68284"/>
                <a:gd name="connsiteX2" fmla="*/ 0 w 143156"/>
                <a:gd name="connsiteY2" fmla="*/ 32368 h 68284"/>
                <a:gd name="connsiteX3" fmla="*/ 12823 w 143156"/>
                <a:gd name="connsiteY3" fmla="*/ 36515 h 68284"/>
                <a:gd name="connsiteX4" fmla="*/ 70813 w 143156"/>
                <a:gd name="connsiteY4" fmla="*/ 24521 h 68284"/>
                <a:gd name="connsiteX5" fmla="*/ 143157 w 143156"/>
                <a:gd name="connsiteY5" fmla="*/ 68285 h 6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56" h="68284">
                  <a:moveTo>
                    <a:pt x="143157" y="68285"/>
                  </a:moveTo>
                  <a:cubicBezTo>
                    <a:pt x="143157" y="68285"/>
                    <a:pt x="118340" y="2129"/>
                    <a:pt x="68133" y="88"/>
                  </a:cubicBezTo>
                  <a:cubicBezTo>
                    <a:pt x="17926" y="-1954"/>
                    <a:pt x="0" y="32368"/>
                    <a:pt x="0" y="32368"/>
                  </a:cubicBezTo>
                  <a:cubicBezTo>
                    <a:pt x="0" y="32368"/>
                    <a:pt x="6762" y="36578"/>
                    <a:pt x="12823" y="36515"/>
                  </a:cubicBezTo>
                  <a:cubicBezTo>
                    <a:pt x="27623" y="26690"/>
                    <a:pt x="51738" y="23054"/>
                    <a:pt x="70813" y="24521"/>
                  </a:cubicBezTo>
                  <a:cubicBezTo>
                    <a:pt x="112152" y="27711"/>
                    <a:pt x="143157" y="68285"/>
                    <a:pt x="143157" y="68285"/>
                  </a:cubicBezTo>
                  <a:close/>
                </a:path>
              </a:pathLst>
            </a:custGeom>
            <a:solidFill>
              <a:srgbClr val="1C1009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A15E132F-8F4F-47BE-BBEA-D0D0DF489E32}"/>
                </a:ext>
              </a:extLst>
            </p:cNvPr>
            <p:cNvSpPr/>
            <p:nvPr/>
          </p:nvSpPr>
          <p:spPr>
            <a:xfrm>
              <a:off x="8015019" y="2492673"/>
              <a:ext cx="125914" cy="81385"/>
            </a:xfrm>
            <a:custGeom>
              <a:avLst/>
              <a:gdLst>
                <a:gd name="connsiteX0" fmla="*/ 0 w 125914"/>
                <a:gd name="connsiteY0" fmla="*/ 47047 h 81385"/>
                <a:gd name="connsiteX1" fmla="*/ 124847 w 125914"/>
                <a:gd name="connsiteY1" fmla="*/ 18594 h 81385"/>
                <a:gd name="connsiteX2" fmla="*/ 0 w 125914"/>
                <a:gd name="connsiteY2" fmla="*/ 65228 h 81385"/>
                <a:gd name="connsiteX3" fmla="*/ 0 w 125914"/>
                <a:gd name="connsiteY3" fmla="*/ 47047 h 81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914" h="81385">
                  <a:moveTo>
                    <a:pt x="0" y="47047"/>
                  </a:moveTo>
                  <a:cubicBezTo>
                    <a:pt x="0" y="47047"/>
                    <a:pt x="47719" y="-36015"/>
                    <a:pt x="124847" y="18594"/>
                  </a:cubicBezTo>
                  <a:cubicBezTo>
                    <a:pt x="133524" y="73203"/>
                    <a:pt x="89058" y="101273"/>
                    <a:pt x="0" y="65228"/>
                  </a:cubicBezTo>
                  <a:cubicBezTo>
                    <a:pt x="1084" y="57127"/>
                    <a:pt x="0" y="47047"/>
                    <a:pt x="0" y="47047"/>
                  </a:cubicBezTo>
                  <a:close/>
                </a:path>
              </a:pathLst>
            </a:custGeom>
            <a:solidFill>
              <a:srgbClr val="FFFFFF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E3EB00F-8D0C-4229-B8BC-2C4BF758BC5B}"/>
                </a:ext>
              </a:extLst>
            </p:cNvPr>
            <p:cNvSpPr/>
            <p:nvPr/>
          </p:nvSpPr>
          <p:spPr>
            <a:xfrm>
              <a:off x="8037475" y="2495956"/>
              <a:ext cx="82933" cy="82933"/>
            </a:xfrm>
            <a:custGeom>
              <a:avLst/>
              <a:gdLst>
                <a:gd name="connsiteX0" fmla="*/ 0 w 82933"/>
                <a:gd name="connsiteY0" fmla="*/ 41467 h 82933"/>
                <a:gd name="connsiteX1" fmla="*/ 41467 w 82933"/>
                <a:gd name="connsiteY1" fmla="*/ 82934 h 82933"/>
                <a:gd name="connsiteX2" fmla="*/ 82934 w 82933"/>
                <a:gd name="connsiteY2" fmla="*/ 41467 h 82933"/>
                <a:gd name="connsiteX3" fmla="*/ 41467 w 82933"/>
                <a:gd name="connsiteY3" fmla="*/ 0 h 82933"/>
                <a:gd name="connsiteX4" fmla="*/ 0 w 82933"/>
                <a:gd name="connsiteY4" fmla="*/ 41467 h 8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933" h="82933">
                  <a:moveTo>
                    <a:pt x="0" y="41467"/>
                  </a:moveTo>
                  <a:cubicBezTo>
                    <a:pt x="0" y="64369"/>
                    <a:pt x="18565" y="82934"/>
                    <a:pt x="41467" y="82934"/>
                  </a:cubicBezTo>
                  <a:cubicBezTo>
                    <a:pt x="64370" y="82934"/>
                    <a:pt x="82934" y="64369"/>
                    <a:pt x="82934" y="41467"/>
                  </a:cubicBezTo>
                  <a:cubicBezTo>
                    <a:pt x="82934" y="18564"/>
                    <a:pt x="64370" y="0"/>
                    <a:pt x="41467" y="0"/>
                  </a:cubicBezTo>
                  <a:cubicBezTo>
                    <a:pt x="18565" y="0"/>
                    <a:pt x="0" y="18564"/>
                    <a:pt x="0" y="41467"/>
                  </a:cubicBez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A92AB91-B073-4803-AFF3-3A54480DB941}"/>
                </a:ext>
              </a:extLst>
            </p:cNvPr>
            <p:cNvSpPr/>
            <p:nvPr/>
          </p:nvSpPr>
          <p:spPr>
            <a:xfrm>
              <a:off x="8015019" y="2485135"/>
              <a:ext cx="125690" cy="59560"/>
            </a:xfrm>
            <a:custGeom>
              <a:avLst/>
              <a:gdLst>
                <a:gd name="connsiteX0" fmla="*/ 0 w 125690"/>
                <a:gd name="connsiteY0" fmla="*/ 59561 h 59560"/>
                <a:gd name="connsiteX1" fmla="*/ 68835 w 125690"/>
                <a:gd name="connsiteY1" fmla="*/ 33787 h 59560"/>
                <a:gd name="connsiteX2" fmla="*/ 125677 w 125690"/>
                <a:gd name="connsiteY2" fmla="*/ 33787 h 59560"/>
                <a:gd name="connsiteX3" fmla="*/ 124847 w 125690"/>
                <a:gd name="connsiteY3" fmla="*/ 26131 h 59560"/>
                <a:gd name="connsiteX4" fmla="*/ 86060 w 125690"/>
                <a:gd name="connsiteY4" fmla="*/ 741 h 59560"/>
                <a:gd name="connsiteX5" fmla="*/ 0 w 125690"/>
                <a:gd name="connsiteY5" fmla="*/ 54584 h 59560"/>
                <a:gd name="connsiteX6" fmla="*/ 0 w 125690"/>
                <a:gd name="connsiteY6" fmla="*/ 59561 h 59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690" h="59560">
                  <a:moveTo>
                    <a:pt x="0" y="59561"/>
                  </a:moveTo>
                  <a:cubicBezTo>
                    <a:pt x="0" y="59561"/>
                    <a:pt x="30941" y="36913"/>
                    <a:pt x="68835" y="33787"/>
                  </a:cubicBezTo>
                  <a:cubicBezTo>
                    <a:pt x="106793" y="30725"/>
                    <a:pt x="125677" y="33787"/>
                    <a:pt x="125677" y="33787"/>
                  </a:cubicBezTo>
                  <a:cubicBezTo>
                    <a:pt x="125677" y="33787"/>
                    <a:pt x="125868" y="28046"/>
                    <a:pt x="124847" y="26131"/>
                  </a:cubicBezTo>
                  <a:cubicBezTo>
                    <a:pt x="120382" y="17966"/>
                    <a:pt x="105964" y="5462"/>
                    <a:pt x="86060" y="741"/>
                  </a:cubicBezTo>
                  <a:cubicBezTo>
                    <a:pt x="51483" y="-7425"/>
                    <a:pt x="0" y="54584"/>
                    <a:pt x="0" y="54584"/>
                  </a:cubicBezTo>
                  <a:lnTo>
                    <a:pt x="0" y="59561"/>
                  </a:lnTo>
                  <a:close/>
                </a:path>
              </a:pathLst>
            </a:custGeom>
            <a:solidFill>
              <a:srgbClr val="A8A8A8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D847A28-B9B9-42E4-B43D-2608F3F98E55}"/>
                </a:ext>
              </a:extLst>
            </p:cNvPr>
            <p:cNvSpPr/>
            <p:nvPr/>
          </p:nvSpPr>
          <p:spPr>
            <a:xfrm>
              <a:off x="8015019" y="2475071"/>
              <a:ext cx="137670" cy="64649"/>
            </a:xfrm>
            <a:custGeom>
              <a:avLst/>
              <a:gdLst>
                <a:gd name="connsiteX0" fmla="*/ 0 w 137670"/>
                <a:gd name="connsiteY0" fmla="*/ 64649 h 64649"/>
                <a:gd name="connsiteX1" fmla="*/ 75023 w 137670"/>
                <a:gd name="connsiteY1" fmla="*/ 88 h 64649"/>
                <a:gd name="connsiteX2" fmla="*/ 137670 w 137670"/>
                <a:gd name="connsiteY2" fmla="*/ 32050 h 64649"/>
                <a:gd name="connsiteX3" fmla="*/ 124847 w 137670"/>
                <a:gd name="connsiteY3" fmla="*/ 36196 h 64649"/>
                <a:gd name="connsiteX4" fmla="*/ 72280 w 137670"/>
                <a:gd name="connsiteY4" fmla="*/ 24522 h 64649"/>
                <a:gd name="connsiteX5" fmla="*/ 0 w 137670"/>
                <a:gd name="connsiteY5" fmla="*/ 64649 h 6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670" h="64649">
                  <a:moveTo>
                    <a:pt x="0" y="64649"/>
                  </a:moveTo>
                  <a:cubicBezTo>
                    <a:pt x="0" y="64649"/>
                    <a:pt x="24816" y="2130"/>
                    <a:pt x="75023" y="88"/>
                  </a:cubicBezTo>
                  <a:cubicBezTo>
                    <a:pt x="125230" y="-1953"/>
                    <a:pt x="137670" y="32050"/>
                    <a:pt x="137670" y="32050"/>
                  </a:cubicBezTo>
                  <a:cubicBezTo>
                    <a:pt x="137670" y="32050"/>
                    <a:pt x="130908" y="36260"/>
                    <a:pt x="124847" y="36196"/>
                  </a:cubicBezTo>
                  <a:cubicBezTo>
                    <a:pt x="110047" y="26372"/>
                    <a:pt x="91355" y="23055"/>
                    <a:pt x="72280" y="24522"/>
                  </a:cubicBezTo>
                  <a:cubicBezTo>
                    <a:pt x="30941" y="27712"/>
                    <a:pt x="0" y="64649"/>
                    <a:pt x="0" y="64649"/>
                  </a:cubicBezTo>
                  <a:close/>
                </a:path>
              </a:pathLst>
            </a:custGeom>
            <a:solidFill>
              <a:srgbClr val="1C1009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2A8588-4E6A-4A73-8901-00AD1DDF3EC2}"/>
                </a:ext>
              </a:extLst>
            </p:cNvPr>
            <p:cNvSpPr/>
            <p:nvPr/>
          </p:nvSpPr>
          <p:spPr>
            <a:xfrm>
              <a:off x="7746824" y="2421711"/>
              <a:ext cx="155086" cy="42602"/>
            </a:xfrm>
            <a:custGeom>
              <a:avLst/>
              <a:gdLst>
                <a:gd name="connsiteX0" fmla="*/ 0 w 155086"/>
                <a:gd name="connsiteY0" fmla="*/ 35011 h 42602"/>
                <a:gd name="connsiteX1" fmla="*/ 3891 w 155086"/>
                <a:gd name="connsiteY1" fmla="*/ 28376 h 42602"/>
                <a:gd name="connsiteX2" fmla="*/ 9761 w 155086"/>
                <a:gd name="connsiteY2" fmla="*/ 21678 h 42602"/>
                <a:gd name="connsiteX3" fmla="*/ 18692 w 155086"/>
                <a:gd name="connsiteY3" fmla="*/ 14150 h 42602"/>
                <a:gd name="connsiteX4" fmla="*/ 30813 w 155086"/>
                <a:gd name="connsiteY4" fmla="*/ 7451 h 42602"/>
                <a:gd name="connsiteX5" fmla="*/ 45614 w 155086"/>
                <a:gd name="connsiteY5" fmla="*/ 2411 h 42602"/>
                <a:gd name="connsiteX6" fmla="*/ 53716 w 155086"/>
                <a:gd name="connsiteY6" fmla="*/ 944 h 42602"/>
                <a:gd name="connsiteX7" fmla="*/ 62137 w 155086"/>
                <a:gd name="connsiteY7" fmla="*/ 51 h 42602"/>
                <a:gd name="connsiteX8" fmla="*/ 79234 w 155086"/>
                <a:gd name="connsiteY8" fmla="*/ 689 h 42602"/>
                <a:gd name="connsiteX9" fmla="*/ 95821 w 155086"/>
                <a:gd name="connsiteY9" fmla="*/ 4006 h 42602"/>
                <a:gd name="connsiteX10" fmla="*/ 111068 w 155086"/>
                <a:gd name="connsiteY10" fmla="*/ 9429 h 42602"/>
                <a:gd name="connsiteX11" fmla="*/ 124401 w 155086"/>
                <a:gd name="connsiteY11" fmla="*/ 16128 h 42602"/>
                <a:gd name="connsiteX12" fmla="*/ 135438 w 155086"/>
                <a:gd name="connsiteY12" fmla="*/ 23592 h 42602"/>
                <a:gd name="connsiteX13" fmla="*/ 143986 w 155086"/>
                <a:gd name="connsiteY13" fmla="*/ 30800 h 42602"/>
                <a:gd name="connsiteX14" fmla="*/ 150111 w 155086"/>
                <a:gd name="connsiteY14" fmla="*/ 36925 h 42602"/>
                <a:gd name="connsiteX15" fmla="*/ 155086 w 155086"/>
                <a:gd name="connsiteY15" fmla="*/ 42602 h 42602"/>
                <a:gd name="connsiteX16" fmla="*/ 147623 w 155086"/>
                <a:gd name="connsiteY16" fmla="*/ 41135 h 42602"/>
                <a:gd name="connsiteX17" fmla="*/ 139457 w 155086"/>
                <a:gd name="connsiteY17" fmla="*/ 39030 h 42602"/>
                <a:gd name="connsiteX18" fmla="*/ 129122 w 155086"/>
                <a:gd name="connsiteY18" fmla="*/ 36351 h 42602"/>
                <a:gd name="connsiteX19" fmla="*/ 117192 w 155086"/>
                <a:gd name="connsiteY19" fmla="*/ 33161 h 42602"/>
                <a:gd name="connsiteX20" fmla="*/ 104114 w 155086"/>
                <a:gd name="connsiteY20" fmla="*/ 30035 h 42602"/>
                <a:gd name="connsiteX21" fmla="*/ 90334 w 155086"/>
                <a:gd name="connsiteY21" fmla="*/ 27164 h 42602"/>
                <a:gd name="connsiteX22" fmla="*/ 76299 w 155086"/>
                <a:gd name="connsiteY22" fmla="*/ 24995 h 42602"/>
                <a:gd name="connsiteX23" fmla="*/ 62328 w 155086"/>
                <a:gd name="connsiteY23" fmla="*/ 23719 h 42602"/>
                <a:gd name="connsiteX24" fmla="*/ 48804 w 155086"/>
                <a:gd name="connsiteY24" fmla="*/ 23783 h 42602"/>
                <a:gd name="connsiteX25" fmla="*/ 36108 w 155086"/>
                <a:gd name="connsiteY25" fmla="*/ 24931 h 42602"/>
                <a:gd name="connsiteX26" fmla="*/ 24498 w 155086"/>
                <a:gd name="connsiteY26" fmla="*/ 26909 h 42602"/>
                <a:gd name="connsiteX27" fmla="*/ 14609 w 155086"/>
                <a:gd name="connsiteY27" fmla="*/ 29524 h 42602"/>
                <a:gd name="connsiteX28" fmla="*/ 6826 w 155086"/>
                <a:gd name="connsiteY28" fmla="*/ 32076 h 42602"/>
                <a:gd name="connsiteX29" fmla="*/ 1786 w 155086"/>
                <a:gd name="connsiteY29" fmla="*/ 34118 h 42602"/>
                <a:gd name="connsiteX30" fmla="*/ 0 w 155086"/>
                <a:gd name="connsiteY30" fmla="*/ 35011 h 4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5086" h="42602">
                  <a:moveTo>
                    <a:pt x="0" y="35011"/>
                  </a:moveTo>
                  <a:cubicBezTo>
                    <a:pt x="0" y="35011"/>
                    <a:pt x="1021" y="32395"/>
                    <a:pt x="3891" y="28376"/>
                  </a:cubicBezTo>
                  <a:cubicBezTo>
                    <a:pt x="5423" y="26526"/>
                    <a:pt x="7209" y="23974"/>
                    <a:pt x="9761" y="21678"/>
                  </a:cubicBezTo>
                  <a:cubicBezTo>
                    <a:pt x="12185" y="19126"/>
                    <a:pt x="15247" y="16702"/>
                    <a:pt x="18692" y="14150"/>
                  </a:cubicBezTo>
                  <a:cubicBezTo>
                    <a:pt x="22328" y="11917"/>
                    <a:pt x="26220" y="9238"/>
                    <a:pt x="30813" y="7451"/>
                  </a:cubicBezTo>
                  <a:cubicBezTo>
                    <a:pt x="35343" y="5282"/>
                    <a:pt x="40319" y="3751"/>
                    <a:pt x="45614" y="2411"/>
                  </a:cubicBezTo>
                  <a:cubicBezTo>
                    <a:pt x="48229" y="1518"/>
                    <a:pt x="50972" y="1391"/>
                    <a:pt x="53716" y="944"/>
                  </a:cubicBezTo>
                  <a:cubicBezTo>
                    <a:pt x="56459" y="625"/>
                    <a:pt x="59330" y="51"/>
                    <a:pt x="62137" y="51"/>
                  </a:cubicBezTo>
                  <a:cubicBezTo>
                    <a:pt x="67751" y="51"/>
                    <a:pt x="73620" y="-268"/>
                    <a:pt x="79234" y="689"/>
                  </a:cubicBezTo>
                  <a:cubicBezTo>
                    <a:pt x="84848" y="1518"/>
                    <a:pt x="90589" y="2220"/>
                    <a:pt x="95821" y="4006"/>
                  </a:cubicBezTo>
                  <a:cubicBezTo>
                    <a:pt x="101179" y="5537"/>
                    <a:pt x="106411" y="7068"/>
                    <a:pt x="111068" y="9429"/>
                  </a:cubicBezTo>
                  <a:cubicBezTo>
                    <a:pt x="115789" y="11662"/>
                    <a:pt x="120382" y="13639"/>
                    <a:pt x="124401" y="16128"/>
                  </a:cubicBezTo>
                  <a:cubicBezTo>
                    <a:pt x="128420" y="18679"/>
                    <a:pt x="132120" y="21231"/>
                    <a:pt x="135438" y="23592"/>
                  </a:cubicBezTo>
                  <a:cubicBezTo>
                    <a:pt x="138819" y="25888"/>
                    <a:pt x="141562" y="28504"/>
                    <a:pt x="143986" y="30800"/>
                  </a:cubicBezTo>
                  <a:cubicBezTo>
                    <a:pt x="146474" y="33033"/>
                    <a:pt x="148452" y="35202"/>
                    <a:pt x="150111" y="36925"/>
                  </a:cubicBezTo>
                  <a:cubicBezTo>
                    <a:pt x="153428" y="40370"/>
                    <a:pt x="155086" y="42602"/>
                    <a:pt x="155086" y="42602"/>
                  </a:cubicBezTo>
                  <a:cubicBezTo>
                    <a:pt x="155086" y="42602"/>
                    <a:pt x="152216" y="42220"/>
                    <a:pt x="147623" y="41135"/>
                  </a:cubicBezTo>
                  <a:cubicBezTo>
                    <a:pt x="145326" y="40561"/>
                    <a:pt x="142519" y="39987"/>
                    <a:pt x="139457" y="39030"/>
                  </a:cubicBezTo>
                  <a:cubicBezTo>
                    <a:pt x="136394" y="38137"/>
                    <a:pt x="132950" y="37116"/>
                    <a:pt x="129122" y="36351"/>
                  </a:cubicBezTo>
                  <a:cubicBezTo>
                    <a:pt x="125358" y="35457"/>
                    <a:pt x="121339" y="34373"/>
                    <a:pt x="117192" y="33161"/>
                  </a:cubicBezTo>
                  <a:cubicBezTo>
                    <a:pt x="113046" y="31949"/>
                    <a:pt x="108580" y="31247"/>
                    <a:pt x="104114" y="30035"/>
                  </a:cubicBezTo>
                  <a:cubicBezTo>
                    <a:pt x="99712" y="28695"/>
                    <a:pt x="94991" y="28185"/>
                    <a:pt x="90334" y="27164"/>
                  </a:cubicBezTo>
                  <a:cubicBezTo>
                    <a:pt x="85677" y="26080"/>
                    <a:pt x="80956" y="25569"/>
                    <a:pt x="76299" y="24995"/>
                  </a:cubicBezTo>
                  <a:cubicBezTo>
                    <a:pt x="71579" y="23974"/>
                    <a:pt x="66921" y="24357"/>
                    <a:pt x="62328" y="23719"/>
                  </a:cubicBezTo>
                  <a:cubicBezTo>
                    <a:pt x="57735" y="23655"/>
                    <a:pt x="53205" y="23528"/>
                    <a:pt x="48804" y="23783"/>
                  </a:cubicBezTo>
                  <a:cubicBezTo>
                    <a:pt x="44402" y="24102"/>
                    <a:pt x="40128" y="24229"/>
                    <a:pt x="36108" y="24931"/>
                  </a:cubicBezTo>
                  <a:cubicBezTo>
                    <a:pt x="31962" y="25250"/>
                    <a:pt x="28198" y="26335"/>
                    <a:pt x="24498" y="26909"/>
                  </a:cubicBezTo>
                  <a:cubicBezTo>
                    <a:pt x="20989" y="27866"/>
                    <a:pt x="17480" y="28504"/>
                    <a:pt x="14609" y="29524"/>
                  </a:cubicBezTo>
                  <a:cubicBezTo>
                    <a:pt x="11611" y="30418"/>
                    <a:pt x="9059" y="31311"/>
                    <a:pt x="6826" y="32076"/>
                  </a:cubicBezTo>
                  <a:cubicBezTo>
                    <a:pt x="4721" y="32969"/>
                    <a:pt x="2871" y="33544"/>
                    <a:pt x="1786" y="34118"/>
                  </a:cubicBezTo>
                  <a:cubicBezTo>
                    <a:pt x="638" y="34692"/>
                    <a:pt x="0" y="35011"/>
                    <a:pt x="0" y="35011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7B736AE-2631-416A-B8D4-62E9749FF022}"/>
                </a:ext>
              </a:extLst>
            </p:cNvPr>
            <p:cNvSpPr/>
            <p:nvPr/>
          </p:nvSpPr>
          <p:spPr>
            <a:xfrm>
              <a:off x="7868992" y="2694870"/>
              <a:ext cx="177478" cy="73533"/>
            </a:xfrm>
            <a:custGeom>
              <a:avLst/>
              <a:gdLst>
                <a:gd name="connsiteX0" fmla="*/ 0 w 177478"/>
                <a:gd name="connsiteY0" fmla="*/ 23541 h 73533"/>
                <a:gd name="connsiteX1" fmla="*/ 177479 w 177478"/>
                <a:gd name="connsiteY1" fmla="*/ 0 h 73533"/>
                <a:gd name="connsiteX2" fmla="*/ 93460 w 177478"/>
                <a:gd name="connsiteY2" fmla="*/ 72727 h 73533"/>
                <a:gd name="connsiteX3" fmla="*/ 0 w 177478"/>
                <a:gd name="connsiteY3" fmla="*/ 23541 h 7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478" h="73533">
                  <a:moveTo>
                    <a:pt x="0" y="23541"/>
                  </a:moveTo>
                  <a:cubicBezTo>
                    <a:pt x="0" y="23541"/>
                    <a:pt x="107814" y="40957"/>
                    <a:pt x="177479" y="0"/>
                  </a:cubicBezTo>
                  <a:cubicBezTo>
                    <a:pt x="175437" y="19458"/>
                    <a:pt x="149791" y="64561"/>
                    <a:pt x="93460" y="72727"/>
                  </a:cubicBezTo>
                  <a:cubicBezTo>
                    <a:pt x="37129" y="80956"/>
                    <a:pt x="0" y="23541"/>
                    <a:pt x="0" y="23541"/>
                  </a:cubicBezTo>
                  <a:close/>
                </a:path>
              </a:pathLst>
            </a:custGeom>
            <a:solidFill>
              <a:schemeClr val="bg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04C0122-3771-49C9-99DD-F5DA0E24E90D}"/>
                </a:ext>
              </a:extLst>
            </p:cNvPr>
            <p:cNvSpPr/>
            <p:nvPr/>
          </p:nvSpPr>
          <p:spPr>
            <a:xfrm>
              <a:off x="8043345" y="2684089"/>
              <a:ext cx="13589" cy="14353"/>
            </a:xfrm>
            <a:custGeom>
              <a:avLst/>
              <a:gdLst>
                <a:gd name="connsiteX0" fmla="*/ 0 w 13589"/>
                <a:gd name="connsiteY0" fmla="*/ 0 h 14353"/>
                <a:gd name="connsiteX1" fmla="*/ 10207 w 13589"/>
                <a:gd name="connsiteY1" fmla="*/ 14354 h 14353"/>
                <a:gd name="connsiteX2" fmla="*/ 0 w 13589"/>
                <a:gd name="connsiteY2" fmla="*/ 0 h 1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9" h="14353">
                  <a:moveTo>
                    <a:pt x="0" y="0"/>
                  </a:moveTo>
                  <a:lnTo>
                    <a:pt x="10207" y="14354"/>
                  </a:lnTo>
                  <a:cubicBezTo>
                    <a:pt x="10271" y="14354"/>
                    <a:pt x="22520" y="2105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233A0308-3B4C-4C8A-B959-DA0720CA63F3}"/>
                </a:ext>
              </a:extLst>
            </p:cNvPr>
            <p:cNvSpPr/>
            <p:nvPr/>
          </p:nvSpPr>
          <p:spPr>
            <a:xfrm>
              <a:off x="7909119" y="2492747"/>
              <a:ext cx="64433" cy="29110"/>
            </a:xfrm>
            <a:custGeom>
              <a:avLst/>
              <a:gdLst>
                <a:gd name="connsiteX0" fmla="*/ 54545 w 64433"/>
                <a:gd name="connsiteY0" fmla="*/ 29110 h 29110"/>
                <a:gd name="connsiteX1" fmla="*/ 29601 w 64433"/>
                <a:gd name="connsiteY1" fmla="*/ 12268 h 29110"/>
                <a:gd name="connsiteX2" fmla="*/ 10463 w 64433"/>
                <a:gd name="connsiteY2" fmla="*/ 25410 h 29110"/>
                <a:gd name="connsiteX3" fmla="*/ 0 w 64433"/>
                <a:gd name="connsiteY3" fmla="*/ 19031 h 29110"/>
                <a:gd name="connsiteX4" fmla="*/ 28963 w 64433"/>
                <a:gd name="connsiteY4" fmla="*/ 20 h 29110"/>
                <a:gd name="connsiteX5" fmla="*/ 64434 w 64433"/>
                <a:gd name="connsiteY5" fmla="*/ 21774 h 29110"/>
                <a:gd name="connsiteX6" fmla="*/ 54545 w 64433"/>
                <a:gd name="connsiteY6" fmla="*/ 29110 h 2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433" h="29110">
                  <a:moveTo>
                    <a:pt x="54545" y="29110"/>
                  </a:moveTo>
                  <a:cubicBezTo>
                    <a:pt x="45933" y="17563"/>
                    <a:pt x="37512" y="11886"/>
                    <a:pt x="29601" y="12268"/>
                  </a:cubicBezTo>
                  <a:cubicBezTo>
                    <a:pt x="18373" y="12779"/>
                    <a:pt x="10526" y="25282"/>
                    <a:pt x="10463" y="25410"/>
                  </a:cubicBezTo>
                  <a:lnTo>
                    <a:pt x="0" y="19031"/>
                  </a:lnTo>
                  <a:cubicBezTo>
                    <a:pt x="447" y="18265"/>
                    <a:pt x="11228" y="913"/>
                    <a:pt x="28963" y="20"/>
                  </a:cubicBezTo>
                  <a:cubicBezTo>
                    <a:pt x="41148" y="-427"/>
                    <a:pt x="53142" y="6718"/>
                    <a:pt x="64434" y="21774"/>
                  </a:cubicBezTo>
                  <a:lnTo>
                    <a:pt x="54545" y="29110"/>
                  </a:lnTo>
                  <a:close/>
                </a:path>
              </a:pathLst>
            </a:custGeom>
            <a:solidFill>
              <a:schemeClr val="accent4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D72B407-E214-4C5C-A54B-0E17FEF9AF18}"/>
                </a:ext>
              </a:extLst>
            </p:cNvPr>
            <p:cNvSpPr/>
            <p:nvPr/>
          </p:nvSpPr>
          <p:spPr>
            <a:xfrm>
              <a:off x="7719064" y="2477137"/>
              <a:ext cx="199113" cy="145757"/>
            </a:xfrm>
            <a:custGeom>
              <a:avLst/>
              <a:gdLst>
                <a:gd name="connsiteX0" fmla="*/ 519 w 199113"/>
                <a:gd name="connsiteY0" fmla="*/ 102838 h 145757"/>
                <a:gd name="connsiteX1" fmla="*/ 176020 w 199113"/>
                <a:gd name="connsiteY1" fmla="*/ 0 h 145757"/>
                <a:gd name="connsiteX2" fmla="*/ 199114 w 199113"/>
                <a:gd name="connsiteY2" fmla="*/ 1850 h 145757"/>
                <a:gd name="connsiteX3" fmla="*/ 170151 w 199113"/>
                <a:gd name="connsiteY3" fmla="*/ 119680 h 145757"/>
                <a:gd name="connsiteX4" fmla="*/ 16404 w 199113"/>
                <a:gd name="connsiteY4" fmla="*/ 140095 h 145757"/>
                <a:gd name="connsiteX5" fmla="*/ 519 w 199113"/>
                <a:gd name="connsiteY5" fmla="*/ 102838 h 14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113" h="145757">
                  <a:moveTo>
                    <a:pt x="519" y="102838"/>
                  </a:moveTo>
                  <a:cubicBezTo>
                    <a:pt x="519" y="102838"/>
                    <a:pt x="122240" y="89632"/>
                    <a:pt x="176020" y="0"/>
                  </a:cubicBezTo>
                  <a:cubicBezTo>
                    <a:pt x="188524" y="957"/>
                    <a:pt x="199114" y="1850"/>
                    <a:pt x="199114" y="1850"/>
                  </a:cubicBezTo>
                  <a:cubicBezTo>
                    <a:pt x="199114" y="1850"/>
                    <a:pt x="191905" y="96905"/>
                    <a:pt x="170151" y="119680"/>
                  </a:cubicBezTo>
                  <a:cubicBezTo>
                    <a:pt x="148397" y="142455"/>
                    <a:pt x="37265" y="153173"/>
                    <a:pt x="16404" y="140095"/>
                  </a:cubicBezTo>
                  <a:cubicBezTo>
                    <a:pt x="-4457" y="127080"/>
                    <a:pt x="519" y="102838"/>
                    <a:pt x="519" y="102838"/>
                  </a:cubicBezTo>
                  <a:close/>
                </a:path>
              </a:pathLst>
            </a:custGeom>
            <a:solidFill>
              <a:srgbClr val="FFFFFF">
                <a:alpha val="25000"/>
              </a:srgb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1AF2DEDD-136C-44DD-B538-24A2204571DB}"/>
                </a:ext>
              </a:extLst>
            </p:cNvPr>
            <p:cNvSpPr/>
            <p:nvPr/>
          </p:nvSpPr>
          <p:spPr>
            <a:xfrm>
              <a:off x="7990586" y="2464377"/>
              <a:ext cx="190393" cy="170275"/>
            </a:xfrm>
            <a:custGeom>
              <a:avLst/>
              <a:gdLst>
                <a:gd name="connsiteX0" fmla="*/ 0 w 190393"/>
                <a:gd name="connsiteY0" fmla="*/ 133779 h 170275"/>
                <a:gd name="connsiteX1" fmla="*/ 143476 w 190393"/>
                <a:gd name="connsiteY1" fmla="*/ 2935 h 170275"/>
                <a:gd name="connsiteX2" fmla="*/ 177861 w 190393"/>
                <a:gd name="connsiteY2" fmla="*/ 0 h 170275"/>
                <a:gd name="connsiteX3" fmla="*/ 177861 w 190393"/>
                <a:gd name="connsiteY3" fmla="*/ 158531 h 170275"/>
                <a:gd name="connsiteX4" fmla="*/ 0 w 190393"/>
                <a:gd name="connsiteY4" fmla="*/ 133779 h 17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393" h="170275">
                  <a:moveTo>
                    <a:pt x="0" y="133779"/>
                  </a:moveTo>
                  <a:cubicBezTo>
                    <a:pt x="0" y="133779"/>
                    <a:pt x="118021" y="80382"/>
                    <a:pt x="143476" y="2935"/>
                  </a:cubicBezTo>
                  <a:cubicBezTo>
                    <a:pt x="164145" y="1148"/>
                    <a:pt x="177861" y="0"/>
                    <a:pt x="177861" y="0"/>
                  </a:cubicBezTo>
                  <a:cubicBezTo>
                    <a:pt x="177861" y="0"/>
                    <a:pt x="206059" y="130334"/>
                    <a:pt x="177861" y="158531"/>
                  </a:cubicBezTo>
                  <a:cubicBezTo>
                    <a:pt x="149664" y="186729"/>
                    <a:pt x="26985" y="158404"/>
                    <a:pt x="0" y="133779"/>
                  </a:cubicBezTo>
                  <a:close/>
                </a:path>
              </a:pathLst>
            </a:custGeom>
            <a:solidFill>
              <a:srgbClr val="FFFFFF">
                <a:alpha val="25000"/>
              </a:srgb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4A29F5A-EBE0-4371-9FCC-C90E27254A29}"/>
                </a:ext>
              </a:extLst>
            </p:cNvPr>
            <p:cNvSpPr/>
            <p:nvPr/>
          </p:nvSpPr>
          <p:spPr>
            <a:xfrm>
              <a:off x="7713369" y="2457870"/>
              <a:ext cx="211315" cy="170525"/>
            </a:xfrm>
            <a:custGeom>
              <a:avLst/>
              <a:gdLst>
                <a:gd name="connsiteX0" fmla="*/ 59228 w 211315"/>
                <a:gd name="connsiteY0" fmla="*/ 170525 h 170525"/>
                <a:gd name="connsiteX1" fmla="*/ 16421 w 211315"/>
                <a:gd name="connsiteY1" fmla="*/ 163380 h 170525"/>
                <a:gd name="connsiteX2" fmla="*/ 13806 w 211315"/>
                <a:gd name="connsiteY2" fmla="*/ 4466 h 170525"/>
                <a:gd name="connsiteX3" fmla="*/ 15400 w 211315"/>
                <a:gd name="connsiteY3" fmla="*/ 0 h 170525"/>
                <a:gd name="connsiteX4" fmla="*/ 211316 w 211315"/>
                <a:gd name="connsiteY4" fmla="*/ 15439 h 170525"/>
                <a:gd name="connsiteX5" fmla="*/ 210933 w 211315"/>
                <a:gd name="connsiteY5" fmla="*/ 21499 h 170525"/>
                <a:gd name="connsiteX6" fmla="*/ 176420 w 211315"/>
                <a:gd name="connsiteY6" fmla="*/ 146666 h 170525"/>
                <a:gd name="connsiteX7" fmla="*/ 59228 w 211315"/>
                <a:gd name="connsiteY7" fmla="*/ 170525 h 170525"/>
                <a:gd name="connsiteX8" fmla="*/ 24013 w 211315"/>
                <a:gd name="connsiteY8" fmla="*/ 13015 h 170525"/>
                <a:gd name="connsiteX9" fmla="*/ 22864 w 211315"/>
                <a:gd name="connsiteY9" fmla="*/ 152854 h 170525"/>
                <a:gd name="connsiteX10" fmla="*/ 59291 w 211315"/>
                <a:gd name="connsiteY10" fmla="*/ 158213 h 170525"/>
                <a:gd name="connsiteX11" fmla="*/ 169211 w 211315"/>
                <a:gd name="connsiteY11" fmla="*/ 136777 h 170525"/>
                <a:gd name="connsiteX12" fmla="*/ 198302 w 211315"/>
                <a:gd name="connsiteY12" fmla="*/ 26730 h 170525"/>
                <a:gd name="connsiteX13" fmla="*/ 24013 w 211315"/>
                <a:gd name="connsiteY13" fmla="*/ 13015 h 17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1315" h="170525">
                  <a:moveTo>
                    <a:pt x="59228" y="170525"/>
                  </a:moveTo>
                  <a:cubicBezTo>
                    <a:pt x="38622" y="170525"/>
                    <a:pt x="24268" y="168101"/>
                    <a:pt x="16421" y="163380"/>
                  </a:cubicBezTo>
                  <a:cubicBezTo>
                    <a:pt x="-13308" y="145326"/>
                    <a:pt x="4619" y="30367"/>
                    <a:pt x="13806" y="4466"/>
                  </a:cubicBezTo>
                  <a:lnTo>
                    <a:pt x="15400" y="0"/>
                  </a:lnTo>
                  <a:lnTo>
                    <a:pt x="211316" y="15439"/>
                  </a:lnTo>
                  <a:lnTo>
                    <a:pt x="210933" y="21499"/>
                  </a:lnTo>
                  <a:cubicBezTo>
                    <a:pt x="210231" y="32217"/>
                    <a:pt x="203022" y="127081"/>
                    <a:pt x="176420" y="146666"/>
                  </a:cubicBezTo>
                  <a:cubicBezTo>
                    <a:pt x="157281" y="160764"/>
                    <a:pt x="99291" y="170525"/>
                    <a:pt x="59228" y="170525"/>
                  </a:cubicBezTo>
                  <a:close/>
                  <a:moveTo>
                    <a:pt x="24013" y="13015"/>
                  </a:moveTo>
                  <a:cubicBezTo>
                    <a:pt x="12785" y="50398"/>
                    <a:pt x="5384" y="142264"/>
                    <a:pt x="22864" y="152854"/>
                  </a:cubicBezTo>
                  <a:cubicBezTo>
                    <a:pt x="28478" y="156299"/>
                    <a:pt x="41748" y="158213"/>
                    <a:pt x="59291" y="158213"/>
                  </a:cubicBezTo>
                  <a:cubicBezTo>
                    <a:pt x="100758" y="158213"/>
                    <a:pt x="154155" y="147750"/>
                    <a:pt x="169211" y="136777"/>
                  </a:cubicBezTo>
                  <a:cubicBezTo>
                    <a:pt x="186691" y="123954"/>
                    <a:pt x="195622" y="57926"/>
                    <a:pt x="198302" y="26730"/>
                  </a:cubicBezTo>
                  <a:lnTo>
                    <a:pt x="24013" y="13015"/>
                  </a:lnTo>
                  <a:close/>
                </a:path>
              </a:pathLst>
            </a:custGeom>
            <a:solidFill>
              <a:schemeClr val="accent4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678ED311-FEC5-433A-BB0F-D52A421E32DD}"/>
                </a:ext>
              </a:extLst>
            </p:cNvPr>
            <p:cNvSpPr/>
            <p:nvPr/>
          </p:nvSpPr>
          <p:spPr>
            <a:xfrm>
              <a:off x="7962276" y="2457870"/>
              <a:ext cx="225017" cy="181561"/>
            </a:xfrm>
            <a:custGeom>
              <a:avLst/>
              <a:gdLst>
                <a:gd name="connsiteX0" fmla="*/ 155900 w 225017"/>
                <a:gd name="connsiteY0" fmla="*/ 181562 h 181561"/>
                <a:gd name="connsiteX1" fmla="*/ 155900 w 225017"/>
                <a:gd name="connsiteY1" fmla="*/ 181562 h 181561"/>
                <a:gd name="connsiteX2" fmla="*/ 19506 w 225017"/>
                <a:gd name="connsiteY2" fmla="*/ 141052 h 181561"/>
                <a:gd name="connsiteX3" fmla="*/ 2153 w 225017"/>
                <a:gd name="connsiteY3" fmla="*/ 22584 h 181561"/>
                <a:gd name="connsiteX4" fmla="*/ 2728 w 225017"/>
                <a:gd name="connsiteY4" fmla="*/ 17608 h 181561"/>
                <a:gd name="connsiteX5" fmla="*/ 210828 w 225017"/>
                <a:gd name="connsiteY5" fmla="*/ 0 h 181561"/>
                <a:gd name="connsiteX6" fmla="*/ 212104 w 225017"/>
                <a:gd name="connsiteY6" fmla="*/ 5104 h 181561"/>
                <a:gd name="connsiteX7" fmla="*/ 209616 w 225017"/>
                <a:gd name="connsiteY7" fmla="*/ 164592 h 181561"/>
                <a:gd name="connsiteX8" fmla="*/ 155900 w 225017"/>
                <a:gd name="connsiteY8" fmla="*/ 181562 h 181561"/>
                <a:gd name="connsiteX9" fmla="*/ 13892 w 225017"/>
                <a:gd name="connsiteY9" fmla="*/ 28963 h 181561"/>
                <a:gd name="connsiteX10" fmla="*/ 28055 w 225017"/>
                <a:gd name="connsiteY10" fmla="*/ 132184 h 181561"/>
                <a:gd name="connsiteX11" fmla="*/ 155900 w 225017"/>
                <a:gd name="connsiteY11" fmla="*/ 169249 h 181561"/>
                <a:gd name="connsiteX12" fmla="*/ 155900 w 225017"/>
                <a:gd name="connsiteY12" fmla="*/ 169249 h 181561"/>
                <a:gd name="connsiteX13" fmla="*/ 200366 w 225017"/>
                <a:gd name="connsiteY13" fmla="*/ 156426 h 181561"/>
                <a:gd name="connsiteX14" fmla="*/ 201387 w 225017"/>
                <a:gd name="connsiteY14" fmla="*/ 13078 h 181561"/>
                <a:gd name="connsiteX15" fmla="*/ 13892 w 225017"/>
                <a:gd name="connsiteY15" fmla="*/ 28963 h 181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5017" h="181561">
                  <a:moveTo>
                    <a:pt x="155900" y="181562"/>
                  </a:moveTo>
                  <a:lnTo>
                    <a:pt x="155900" y="181562"/>
                  </a:lnTo>
                  <a:cubicBezTo>
                    <a:pt x="105183" y="181562"/>
                    <a:pt x="38517" y="159297"/>
                    <a:pt x="19506" y="141052"/>
                  </a:cubicBezTo>
                  <a:cubicBezTo>
                    <a:pt x="-7543" y="115087"/>
                    <a:pt x="1069" y="31962"/>
                    <a:pt x="2153" y="22584"/>
                  </a:cubicBezTo>
                  <a:lnTo>
                    <a:pt x="2728" y="17608"/>
                  </a:lnTo>
                  <a:lnTo>
                    <a:pt x="210828" y="0"/>
                  </a:lnTo>
                  <a:lnTo>
                    <a:pt x="212104" y="5104"/>
                  </a:lnTo>
                  <a:cubicBezTo>
                    <a:pt x="213316" y="10080"/>
                    <a:pt x="242088" y="127655"/>
                    <a:pt x="209616" y="164592"/>
                  </a:cubicBezTo>
                  <a:cubicBezTo>
                    <a:pt x="199664" y="175820"/>
                    <a:pt x="181610" y="181562"/>
                    <a:pt x="155900" y="181562"/>
                  </a:cubicBezTo>
                  <a:close/>
                  <a:moveTo>
                    <a:pt x="13892" y="28963"/>
                  </a:moveTo>
                  <a:cubicBezTo>
                    <a:pt x="11404" y="55949"/>
                    <a:pt x="10064" y="114959"/>
                    <a:pt x="28055" y="132184"/>
                  </a:cubicBezTo>
                  <a:cubicBezTo>
                    <a:pt x="43302" y="146793"/>
                    <a:pt x="106650" y="169249"/>
                    <a:pt x="155900" y="169249"/>
                  </a:cubicBezTo>
                  <a:lnTo>
                    <a:pt x="155900" y="169249"/>
                  </a:lnTo>
                  <a:cubicBezTo>
                    <a:pt x="177591" y="169249"/>
                    <a:pt x="192966" y="164847"/>
                    <a:pt x="200366" y="156426"/>
                  </a:cubicBezTo>
                  <a:cubicBezTo>
                    <a:pt x="222694" y="131036"/>
                    <a:pt x="209616" y="48804"/>
                    <a:pt x="201387" y="13078"/>
                  </a:cubicBezTo>
                  <a:lnTo>
                    <a:pt x="13892" y="28963"/>
                  </a:lnTo>
                  <a:close/>
                </a:path>
              </a:pathLst>
            </a:custGeom>
            <a:solidFill>
              <a:schemeClr val="accent4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BB94D57-3C78-4B54-985B-6367745C0565}"/>
                </a:ext>
              </a:extLst>
            </p:cNvPr>
            <p:cNvSpPr/>
            <p:nvPr/>
          </p:nvSpPr>
          <p:spPr>
            <a:xfrm>
              <a:off x="7918178" y="2893401"/>
              <a:ext cx="177223" cy="127271"/>
            </a:xfrm>
            <a:custGeom>
              <a:avLst/>
              <a:gdLst>
                <a:gd name="connsiteX0" fmla="*/ 76236 w 177223"/>
                <a:gd name="connsiteY0" fmla="*/ 127144 h 127271"/>
                <a:gd name="connsiteX1" fmla="*/ 177224 w 177223"/>
                <a:gd name="connsiteY1" fmla="*/ 3828 h 127271"/>
                <a:gd name="connsiteX2" fmla="*/ 170270 w 177223"/>
                <a:gd name="connsiteY2" fmla="*/ 2552 h 127271"/>
                <a:gd name="connsiteX3" fmla="*/ 153747 w 177223"/>
                <a:gd name="connsiteY3" fmla="*/ 192 h 127271"/>
                <a:gd name="connsiteX4" fmla="*/ 152088 w 177223"/>
                <a:gd name="connsiteY4" fmla="*/ 0 h 127271"/>
                <a:gd name="connsiteX5" fmla="*/ 83444 w 177223"/>
                <a:gd name="connsiteY5" fmla="*/ 81148 h 127271"/>
                <a:gd name="connsiteX6" fmla="*/ 24625 w 177223"/>
                <a:gd name="connsiteY6" fmla="*/ 10463 h 127271"/>
                <a:gd name="connsiteX7" fmla="*/ 0 w 177223"/>
                <a:gd name="connsiteY7" fmla="*/ 15247 h 127271"/>
                <a:gd name="connsiteX8" fmla="*/ 0 w 177223"/>
                <a:gd name="connsiteY8" fmla="*/ 15247 h 127271"/>
                <a:gd name="connsiteX9" fmla="*/ 76236 w 177223"/>
                <a:gd name="connsiteY9" fmla="*/ 127144 h 127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7223" h="127271">
                  <a:moveTo>
                    <a:pt x="76236" y="127144"/>
                  </a:moveTo>
                  <a:cubicBezTo>
                    <a:pt x="132886" y="131865"/>
                    <a:pt x="177224" y="3828"/>
                    <a:pt x="177224" y="3828"/>
                  </a:cubicBezTo>
                  <a:cubicBezTo>
                    <a:pt x="174736" y="3317"/>
                    <a:pt x="172439" y="2935"/>
                    <a:pt x="170270" y="2552"/>
                  </a:cubicBezTo>
                  <a:cubicBezTo>
                    <a:pt x="166251" y="1850"/>
                    <a:pt x="160764" y="1021"/>
                    <a:pt x="153747" y="192"/>
                  </a:cubicBezTo>
                  <a:cubicBezTo>
                    <a:pt x="152663" y="64"/>
                    <a:pt x="152088" y="0"/>
                    <a:pt x="152088" y="0"/>
                  </a:cubicBezTo>
                  <a:cubicBezTo>
                    <a:pt x="152088" y="0"/>
                    <a:pt x="135438" y="81148"/>
                    <a:pt x="83444" y="81148"/>
                  </a:cubicBezTo>
                  <a:cubicBezTo>
                    <a:pt x="31388" y="81148"/>
                    <a:pt x="24625" y="10463"/>
                    <a:pt x="24625" y="10463"/>
                  </a:cubicBezTo>
                  <a:cubicBezTo>
                    <a:pt x="24625" y="10463"/>
                    <a:pt x="14418" y="11611"/>
                    <a:pt x="0" y="15247"/>
                  </a:cubicBezTo>
                  <a:lnTo>
                    <a:pt x="0" y="15247"/>
                  </a:lnTo>
                  <a:cubicBezTo>
                    <a:pt x="0" y="15247"/>
                    <a:pt x="19585" y="122423"/>
                    <a:pt x="76236" y="127144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E2468FF4-0EE5-4741-A017-8CDDD89DCF6B}"/>
              </a:ext>
            </a:extLst>
          </p:cNvPr>
          <p:cNvGrpSpPr>
            <a:grpSpLocks/>
          </p:cNvGrpSpPr>
          <p:nvPr/>
        </p:nvGrpSpPr>
        <p:grpSpPr>
          <a:xfrm>
            <a:off x="6284422" y="2074075"/>
            <a:ext cx="804005" cy="820166"/>
            <a:chOff x="9579429" y="1825330"/>
            <a:chExt cx="1356685" cy="1383956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DFDF800-1A39-4746-B370-46DA08A11E55}"/>
                </a:ext>
              </a:extLst>
            </p:cNvPr>
            <p:cNvSpPr>
              <a:spLocks/>
            </p:cNvSpPr>
            <p:nvPr/>
          </p:nvSpPr>
          <p:spPr>
            <a:xfrm>
              <a:off x="9579429" y="1825330"/>
              <a:ext cx="1356685" cy="1383955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D0D0D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tr-TR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5D4C9A9-DC32-4C9B-AABC-62197496B038}"/>
                </a:ext>
              </a:extLst>
            </p:cNvPr>
            <p:cNvSpPr/>
            <p:nvPr/>
          </p:nvSpPr>
          <p:spPr>
            <a:xfrm>
              <a:off x="10191531" y="2849006"/>
              <a:ext cx="121275" cy="308769"/>
            </a:xfrm>
            <a:custGeom>
              <a:avLst/>
              <a:gdLst>
                <a:gd name="connsiteX0" fmla="*/ 59202 w 121275"/>
                <a:gd name="connsiteY0" fmla="*/ 308769 h 308769"/>
                <a:gd name="connsiteX1" fmla="*/ 121275 w 121275"/>
                <a:gd name="connsiteY1" fmla="*/ 269791 h 308769"/>
                <a:gd name="connsiteX2" fmla="*/ 121275 w 121275"/>
                <a:gd name="connsiteY2" fmla="*/ 0 h 308769"/>
                <a:gd name="connsiteX3" fmla="*/ 0 w 121275"/>
                <a:gd name="connsiteY3" fmla="*/ 0 h 308769"/>
                <a:gd name="connsiteX4" fmla="*/ 0 w 121275"/>
                <a:gd name="connsiteY4" fmla="*/ 252311 h 308769"/>
                <a:gd name="connsiteX5" fmla="*/ 59202 w 121275"/>
                <a:gd name="connsiteY5" fmla="*/ 308769 h 30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275" h="308769">
                  <a:moveTo>
                    <a:pt x="59202" y="308769"/>
                  </a:moveTo>
                  <a:cubicBezTo>
                    <a:pt x="101243" y="308769"/>
                    <a:pt x="121275" y="269791"/>
                    <a:pt x="121275" y="269791"/>
                  </a:cubicBezTo>
                  <a:lnTo>
                    <a:pt x="121275" y="0"/>
                  </a:lnTo>
                  <a:lnTo>
                    <a:pt x="0" y="0"/>
                  </a:lnTo>
                  <a:lnTo>
                    <a:pt x="0" y="252311"/>
                  </a:lnTo>
                  <a:cubicBezTo>
                    <a:pt x="0" y="252311"/>
                    <a:pt x="17161" y="308769"/>
                    <a:pt x="59202" y="308769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9E23967-3B49-4D71-85C4-13D6C629DF8A}"/>
                </a:ext>
              </a:extLst>
            </p:cNvPr>
            <p:cNvGrpSpPr/>
            <p:nvPr/>
          </p:nvGrpSpPr>
          <p:grpSpPr>
            <a:xfrm>
              <a:off x="10019227" y="3060615"/>
              <a:ext cx="464858" cy="148671"/>
              <a:chOff x="10727597" y="3060615"/>
              <a:chExt cx="464858" cy="148671"/>
            </a:xfrm>
            <a:solidFill>
              <a:schemeClr val="accent3"/>
            </a:solidFill>
          </p:grpSpPr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2C52AFB4-7BFE-4F0F-A4EF-417E9447DC11}"/>
                  </a:ext>
                </a:extLst>
              </p:cNvPr>
              <p:cNvSpPr/>
              <p:nvPr/>
            </p:nvSpPr>
            <p:spPr>
              <a:xfrm>
                <a:off x="10878388" y="3060615"/>
                <a:ext cx="168146" cy="148671"/>
              </a:xfrm>
              <a:custGeom>
                <a:avLst/>
                <a:gdLst>
                  <a:gd name="connsiteX0" fmla="*/ 81171 w 168146"/>
                  <a:gd name="connsiteY0" fmla="*/ 0 h 148671"/>
                  <a:gd name="connsiteX1" fmla="*/ 168146 w 168146"/>
                  <a:gd name="connsiteY1" fmla="*/ 20628 h 148671"/>
                  <a:gd name="connsiteX2" fmla="*/ 167940 w 168146"/>
                  <a:gd name="connsiteY2" fmla="*/ 24555 h 148671"/>
                  <a:gd name="connsiteX3" fmla="*/ 165001 w 168146"/>
                  <a:gd name="connsiteY3" fmla="*/ 78235 h 148671"/>
                  <a:gd name="connsiteX4" fmla="*/ 161273 w 168146"/>
                  <a:gd name="connsiteY4" fmla="*/ 141157 h 148671"/>
                  <a:gd name="connsiteX5" fmla="*/ 88210 w 168146"/>
                  <a:gd name="connsiteY5" fmla="*/ 148671 h 148671"/>
                  <a:gd name="connsiteX6" fmla="*/ 4988 w 168146"/>
                  <a:gd name="connsiteY6" fmla="*/ 140113 h 148671"/>
                  <a:gd name="connsiteX7" fmla="*/ 2583 w 168146"/>
                  <a:gd name="connsiteY7" fmla="*/ 82853 h 148671"/>
                  <a:gd name="connsiteX8" fmla="*/ 138 w 168146"/>
                  <a:gd name="connsiteY8" fmla="*/ 8943 h 148671"/>
                  <a:gd name="connsiteX9" fmla="*/ 0 w 168146"/>
                  <a:gd name="connsiteY9" fmla="*/ 4089 h 148671"/>
                  <a:gd name="connsiteX10" fmla="*/ 81171 w 168146"/>
                  <a:gd name="connsiteY10" fmla="*/ 0 h 148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8146" h="148671">
                    <a:moveTo>
                      <a:pt x="81171" y="0"/>
                    </a:moveTo>
                    <a:lnTo>
                      <a:pt x="168146" y="20628"/>
                    </a:lnTo>
                    <a:lnTo>
                      <a:pt x="167940" y="24555"/>
                    </a:lnTo>
                    <a:cubicBezTo>
                      <a:pt x="167219" y="38143"/>
                      <a:pt x="166199" y="57032"/>
                      <a:pt x="165001" y="78235"/>
                    </a:cubicBezTo>
                    <a:lnTo>
                      <a:pt x="161273" y="141157"/>
                    </a:lnTo>
                    <a:lnTo>
                      <a:pt x="88210" y="148671"/>
                    </a:lnTo>
                    <a:lnTo>
                      <a:pt x="4988" y="140113"/>
                    </a:lnTo>
                    <a:lnTo>
                      <a:pt x="2583" y="82853"/>
                    </a:lnTo>
                    <a:cubicBezTo>
                      <a:pt x="1345" y="49439"/>
                      <a:pt x="489" y="21049"/>
                      <a:pt x="138" y="8943"/>
                    </a:cubicBezTo>
                    <a:lnTo>
                      <a:pt x="0" y="4089"/>
                    </a:lnTo>
                    <a:lnTo>
                      <a:pt x="81171" y="0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6BFABA7E-9355-47B9-9E68-A3D3E551E440}"/>
                  </a:ext>
                </a:extLst>
              </p:cNvPr>
              <p:cNvSpPr/>
              <p:nvPr/>
            </p:nvSpPr>
            <p:spPr>
              <a:xfrm>
                <a:off x="11043945" y="3063295"/>
                <a:ext cx="148510" cy="138037"/>
              </a:xfrm>
              <a:custGeom>
                <a:avLst/>
                <a:gdLst>
                  <a:gd name="connsiteX0" fmla="*/ 3526 w 148510"/>
                  <a:gd name="connsiteY0" fmla="*/ 0 h 138037"/>
                  <a:gd name="connsiteX1" fmla="*/ 33446 w 148510"/>
                  <a:gd name="connsiteY1" fmla="*/ 16842 h 138037"/>
                  <a:gd name="connsiteX2" fmla="*/ 120909 w 148510"/>
                  <a:gd name="connsiteY2" fmla="*/ 66028 h 138037"/>
                  <a:gd name="connsiteX3" fmla="*/ 120909 w 148510"/>
                  <a:gd name="connsiteY3" fmla="*/ 66030 h 138037"/>
                  <a:gd name="connsiteX4" fmla="*/ 128970 w 148510"/>
                  <a:gd name="connsiteY4" fmla="*/ 74313 h 138037"/>
                  <a:gd name="connsiteX5" fmla="*/ 138214 w 148510"/>
                  <a:gd name="connsiteY5" fmla="*/ 86725 h 138037"/>
                  <a:gd name="connsiteX6" fmla="*/ 148510 w 148510"/>
                  <a:gd name="connsiteY6" fmla="*/ 103704 h 138037"/>
                  <a:gd name="connsiteX7" fmla="*/ 59364 w 148510"/>
                  <a:gd name="connsiteY7" fmla="*/ 131932 h 138037"/>
                  <a:gd name="connsiteX8" fmla="*/ 0 w 148510"/>
                  <a:gd name="connsiteY8" fmla="*/ 138037 h 138037"/>
                  <a:gd name="connsiteX9" fmla="*/ 2695 w 148510"/>
                  <a:gd name="connsiteY9" fmla="*/ 17973 h 138037"/>
                  <a:gd name="connsiteX10" fmla="*/ 2590 w 148510"/>
                  <a:gd name="connsiteY10" fmla="*/ 17948 h 138037"/>
                  <a:gd name="connsiteX11" fmla="*/ 3225 w 148510"/>
                  <a:gd name="connsiteY11" fmla="*/ 5842 h 138037"/>
                  <a:gd name="connsiteX12" fmla="*/ 3526 w 148510"/>
                  <a:gd name="connsiteY12" fmla="*/ 0 h 138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8510" h="138037">
                    <a:moveTo>
                      <a:pt x="3526" y="0"/>
                    </a:moveTo>
                    <a:lnTo>
                      <a:pt x="33446" y="16842"/>
                    </a:lnTo>
                    <a:lnTo>
                      <a:pt x="120909" y="66028"/>
                    </a:lnTo>
                    <a:lnTo>
                      <a:pt x="120909" y="66030"/>
                    </a:lnTo>
                    <a:lnTo>
                      <a:pt x="128970" y="74313"/>
                    </a:lnTo>
                    <a:cubicBezTo>
                      <a:pt x="131534" y="77380"/>
                      <a:pt x="134646" y="81441"/>
                      <a:pt x="138214" y="86725"/>
                    </a:cubicBezTo>
                    <a:lnTo>
                      <a:pt x="148510" y="103704"/>
                    </a:lnTo>
                    <a:lnTo>
                      <a:pt x="59364" y="131932"/>
                    </a:lnTo>
                    <a:lnTo>
                      <a:pt x="0" y="138037"/>
                    </a:lnTo>
                    <a:lnTo>
                      <a:pt x="2695" y="17973"/>
                    </a:lnTo>
                    <a:lnTo>
                      <a:pt x="2590" y="17948"/>
                    </a:lnTo>
                    <a:lnTo>
                      <a:pt x="3225" y="5842"/>
                    </a:lnTo>
                    <a:cubicBezTo>
                      <a:pt x="3421" y="2072"/>
                      <a:pt x="3526" y="0"/>
                      <a:pt x="3526" y="0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97E7F9A2-6BC5-41F3-B880-0F02E8D9408F}"/>
                  </a:ext>
                </a:extLst>
              </p:cNvPr>
              <p:cNvSpPr/>
              <p:nvPr/>
            </p:nvSpPr>
            <p:spPr>
              <a:xfrm>
                <a:off x="10727597" y="3063296"/>
                <a:ext cx="150792" cy="135264"/>
              </a:xfrm>
              <a:custGeom>
                <a:avLst/>
                <a:gdLst>
                  <a:gd name="connsiteX0" fmla="*/ 150752 w 150792"/>
                  <a:gd name="connsiteY0" fmla="*/ 0 h 135264"/>
                  <a:gd name="connsiteX1" fmla="*/ 150792 w 150792"/>
                  <a:gd name="connsiteY1" fmla="*/ 1408 h 135264"/>
                  <a:gd name="connsiteX2" fmla="*/ 150751 w 150792"/>
                  <a:gd name="connsiteY2" fmla="*/ 1410 h 135264"/>
                  <a:gd name="connsiteX3" fmla="*/ 132442 w 150792"/>
                  <a:gd name="connsiteY3" fmla="*/ 58105 h 135264"/>
                  <a:gd name="connsiteX4" fmla="*/ 134699 w 150792"/>
                  <a:gd name="connsiteY4" fmla="*/ 135264 h 135264"/>
                  <a:gd name="connsiteX5" fmla="*/ 102292 w 150792"/>
                  <a:gd name="connsiteY5" fmla="*/ 131931 h 135264"/>
                  <a:gd name="connsiteX6" fmla="*/ 0 w 150792"/>
                  <a:gd name="connsiteY6" fmla="*/ 99540 h 135264"/>
                  <a:gd name="connsiteX7" fmla="*/ 11945 w 150792"/>
                  <a:gd name="connsiteY7" fmla="*/ 85149 h 135264"/>
                  <a:gd name="connsiteX8" fmla="*/ 33312 w 150792"/>
                  <a:gd name="connsiteY8" fmla="*/ 67123 h 135264"/>
                  <a:gd name="connsiteX9" fmla="*/ 33305 w 150792"/>
                  <a:gd name="connsiteY9" fmla="*/ 66028 h 135264"/>
                  <a:gd name="connsiteX10" fmla="*/ 127722 w 150792"/>
                  <a:gd name="connsiteY10" fmla="*/ 12950 h 135264"/>
                  <a:gd name="connsiteX11" fmla="*/ 150752 w 150792"/>
                  <a:gd name="connsiteY11" fmla="*/ 0 h 135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792" h="135264">
                    <a:moveTo>
                      <a:pt x="150752" y="0"/>
                    </a:moveTo>
                    <a:lnTo>
                      <a:pt x="150792" y="1408"/>
                    </a:lnTo>
                    <a:lnTo>
                      <a:pt x="150751" y="1410"/>
                    </a:lnTo>
                    <a:lnTo>
                      <a:pt x="132442" y="58105"/>
                    </a:lnTo>
                    <a:lnTo>
                      <a:pt x="134699" y="135264"/>
                    </a:lnTo>
                    <a:lnTo>
                      <a:pt x="102292" y="131931"/>
                    </a:lnTo>
                    <a:lnTo>
                      <a:pt x="0" y="99540"/>
                    </a:lnTo>
                    <a:lnTo>
                      <a:pt x="11945" y="85149"/>
                    </a:lnTo>
                    <a:lnTo>
                      <a:pt x="33312" y="67123"/>
                    </a:lnTo>
                    <a:lnTo>
                      <a:pt x="33305" y="66028"/>
                    </a:lnTo>
                    <a:lnTo>
                      <a:pt x="127722" y="12950"/>
                    </a:lnTo>
                    <a:lnTo>
                      <a:pt x="150752" y="0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E837B7C7-CCF5-4416-995E-0968054104CB}"/>
                  </a:ext>
                </a:extLst>
              </p:cNvPr>
              <p:cNvSpPr/>
              <p:nvPr/>
            </p:nvSpPr>
            <p:spPr>
              <a:xfrm>
                <a:off x="10860039" y="3064704"/>
                <a:ext cx="23338" cy="136024"/>
              </a:xfrm>
              <a:custGeom>
                <a:avLst/>
                <a:gdLst>
                  <a:gd name="connsiteX0" fmla="*/ 18350 w 23338"/>
                  <a:gd name="connsiteY0" fmla="*/ 0 h 136024"/>
                  <a:gd name="connsiteX1" fmla="*/ 18488 w 23338"/>
                  <a:gd name="connsiteY1" fmla="*/ 4854 h 136024"/>
                  <a:gd name="connsiteX2" fmla="*/ 20933 w 23338"/>
                  <a:gd name="connsiteY2" fmla="*/ 78764 h 136024"/>
                  <a:gd name="connsiteX3" fmla="*/ 23338 w 23338"/>
                  <a:gd name="connsiteY3" fmla="*/ 136024 h 136024"/>
                  <a:gd name="connsiteX4" fmla="*/ 2257 w 23338"/>
                  <a:gd name="connsiteY4" fmla="*/ 133856 h 136024"/>
                  <a:gd name="connsiteX5" fmla="*/ 0 w 23338"/>
                  <a:gd name="connsiteY5" fmla="*/ 56697 h 136024"/>
                  <a:gd name="connsiteX6" fmla="*/ 18309 w 23338"/>
                  <a:gd name="connsiteY6" fmla="*/ 2 h 136024"/>
                  <a:gd name="connsiteX7" fmla="*/ 18350 w 23338"/>
                  <a:gd name="connsiteY7" fmla="*/ 0 h 136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338" h="136024">
                    <a:moveTo>
                      <a:pt x="18350" y="0"/>
                    </a:moveTo>
                    <a:lnTo>
                      <a:pt x="18488" y="4854"/>
                    </a:lnTo>
                    <a:cubicBezTo>
                      <a:pt x="18839" y="16960"/>
                      <a:pt x="19695" y="45350"/>
                      <a:pt x="20933" y="78764"/>
                    </a:cubicBezTo>
                    <a:lnTo>
                      <a:pt x="23338" y="136024"/>
                    </a:lnTo>
                    <a:lnTo>
                      <a:pt x="2257" y="133856"/>
                    </a:lnTo>
                    <a:lnTo>
                      <a:pt x="0" y="56697"/>
                    </a:lnTo>
                    <a:lnTo>
                      <a:pt x="18309" y="2"/>
                    </a:lnTo>
                    <a:lnTo>
                      <a:pt x="18350" y="0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C3A7C338-02AA-4BFA-8A04-93FF7579F37D}"/>
                  </a:ext>
                </a:extLst>
              </p:cNvPr>
              <p:cNvSpPr/>
              <p:nvPr/>
            </p:nvSpPr>
            <p:spPr>
              <a:xfrm>
                <a:off x="11039662" y="3081243"/>
                <a:ext cx="6978" cy="120529"/>
              </a:xfrm>
              <a:custGeom>
                <a:avLst/>
                <a:gdLst>
                  <a:gd name="connsiteX0" fmla="*/ 6873 w 6978"/>
                  <a:gd name="connsiteY0" fmla="*/ 0 h 120529"/>
                  <a:gd name="connsiteX1" fmla="*/ 6978 w 6978"/>
                  <a:gd name="connsiteY1" fmla="*/ 25 h 120529"/>
                  <a:gd name="connsiteX2" fmla="*/ 4283 w 6978"/>
                  <a:gd name="connsiteY2" fmla="*/ 120089 h 120529"/>
                  <a:gd name="connsiteX3" fmla="*/ 0 w 6978"/>
                  <a:gd name="connsiteY3" fmla="*/ 120529 h 120529"/>
                  <a:gd name="connsiteX4" fmla="*/ 3728 w 6978"/>
                  <a:gd name="connsiteY4" fmla="*/ 57607 h 120529"/>
                  <a:gd name="connsiteX5" fmla="*/ 6667 w 6978"/>
                  <a:gd name="connsiteY5" fmla="*/ 3927 h 120529"/>
                  <a:gd name="connsiteX6" fmla="*/ 6873 w 6978"/>
                  <a:gd name="connsiteY6" fmla="*/ 0 h 120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78" h="120529">
                    <a:moveTo>
                      <a:pt x="6873" y="0"/>
                    </a:moveTo>
                    <a:lnTo>
                      <a:pt x="6978" y="25"/>
                    </a:lnTo>
                    <a:lnTo>
                      <a:pt x="4283" y="120089"/>
                    </a:lnTo>
                    <a:lnTo>
                      <a:pt x="0" y="120529"/>
                    </a:lnTo>
                    <a:lnTo>
                      <a:pt x="3728" y="57607"/>
                    </a:lnTo>
                    <a:cubicBezTo>
                      <a:pt x="4926" y="36404"/>
                      <a:pt x="5946" y="17515"/>
                      <a:pt x="6667" y="3927"/>
                    </a:cubicBezTo>
                    <a:lnTo>
                      <a:pt x="6873" y="0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</p:grp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F9833F4-B1E2-4A04-BB33-AB08BDB9861F}"/>
                </a:ext>
              </a:extLst>
            </p:cNvPr>
            <p:cNvSpPr/>
            <p:nvPr/>
          </p:nvSpPr>
          <p:spPr>
            <a:xfrm>
              <a:off x="10020241" y="2221324"/>
              <a:ext cx="538879" cy="323059"/>
            </a:xfrm>
            <a:custGeom>
              <a:avLst/>
              <a:gdLst>
                <a:gd name="connsiteX0" fmla="*/ 0 w 538879"/>
                <a:gd name="connsiteY0" fmla="*/ 161530 h 323059"/>
                <a:gd name="connsiteX1" fmla="*/ 269408 w 538879"/>
                <a:gd name="connsiteY1" fmla="*/ 323060 h 323059"/>
                <a:gd name="connsiteX2" fmla="*/ 538879 w 538879"/>
                <a:gd name="connsiteY2" fmla="*/ 161530 h 323059"/>
                <a:gd name="connsiteX3" fmla="*/ 269408 w 538879"/>
                <a:gd name="connsiteY3" fmla="*/ 0 h 323059"/>
                <a:gd name="connsiteX4" fmla="*/ 0 w 538879"/>
                <a:gd name="connsiteY4" fmla="*/ 161530 h 32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79" h="323059">
                  <a:moveTo>
                    <a:pt x="0" y="161530"/>
                  </a:moveTo>
                  <a:cubicBezTo>
                    <a:pt x="0" y="250716"/>
                    <a:pt x="120637" y="323060"/>
                    <a:pt x="269408" y="323060"/>
                  </a:cubicBezTo>
                  <a:cubicBezTo>
                    <a:pt x="418242" y="323060"/>
                    <a:pt x="538879" y="250716"/>
                    <a:pt x="538879" y="161530"/>
                  </a:cubicBezTo>
                  <a:cubicBezTo>
                    <a:pt x="538879" y="72344"/>
                    <a:pt x="418242" y="0"/>
                    <a:pt x="269408" y="0"/>
                  </a:cubicBezTo>
                  <a:cubicBezTo>
                    <a:pt x="120637" y="0"/>
                    <a:pt x="0" y="72280"/>
                    <a:pt x="0" y="161530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773B3F0A-8532-4877-999E-774F277F1AF2}"/>
                </a:ext>
              </a:extLst>
            </p:cNvPr>
            <p:cNvSpPr/>
            <p:nvPr/>
          </p:nvSpPr>
          <p:spPr>
            <a:xfrm>
              <a:off x="10451240" y="2581123"/>
              <a:ext cx="119486" cy="161513"/>
            </a:xfrm>
            <a:custGeom>
              <a:avLst/>
              <a:gdLst>
                <a:gd name="connsiteX0" fmla="*/ 43957 w 119486"/>
                <a:gd name="connsiteY0" fmla="*/ 30819 h 161513"/>
                <a:gd name="connsiteX1" fmla="*/ 106667 w 119486"/>
                <a:gd name="connsiteY1" fmla="*/ 14615 h 161513"/>
                <a:gd name="connsiteX2" fmla="*/ 29666 w 119486"/>
                <a:gd name="connsiteY2" fmla="*/ 159176 h 161513"/>
                <a:gd name="connsiteX3" fmla="*/ 43957 w 119486"/>
                <a:gd name="connsiteY3" fmla="*/ 30819 h 161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86" h="161513">
                  <a:moveTo>
                    <a:pt x="43957" y="30819"/>
                  </a:moveTo>
                  <a:cubicBezTo>
                    <a:pt x="43957" y="30819"/>
                    <a:pt x="71516" y="-25958"/>
                    <a:pt x="106667" y="14615"/>
                  </a:cubicBezTo>
                  <a:cubicBezTo>
                    <a:pt x="141819" y="55189"/>
                    <a:pt x="100926" y="133849"/>
                    <a:pt x="29666" y="159176"/>
                  </a:cubicBezTo>
                  <a:cubicBezTo>
                    <a:pt x="-44591" y="181951"/>
                    <a:pt x="43957" y="30819"/>
                    <a:pt x="43957" y="3081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D7667079-5492-455B-954A-0B253E7A8B55}"/>
                </a:ext>
              </a:extLst>
            </p:cNvPr>
            <p:cNvSpPr/>
            <p:nvPr/>
          </p:nvSpPr>
          <p:spPr>
            <a:xfrm>
              <a:off x="10501321" y="2599815"/>
              <a:ext cx="56416" cy="89830"/>
            </a:xfrm>
            <a:custGeom>
              <a:avLst/>
              <a:gdLst>
                <a:gd name="connsiteX0" fmla="*/ 2105 w 56416"/>
                <a:gd name="connsiteY0" fmla="*/ 89831 h 89830"/>
                <a:gd name="connsiteX1" fmla="*/ 12440 w 56416"/>
                <a:gd name="connsiteY1" fmla="*/ 85046 h 89830"/>
                <a:gd name="connsiteX2" fmla="*/ 16778 w 56416"/>
                <a:gd name="connsiteY2" fmla="*/ 81665 h 89830"/>
                <a:gd name="connsiteX3" fmla="*/ 20415 w 56416"/>
                <a:gd name="connsiteY3" fmla="*/ 77710 h 89830"/>
                <a:gd name="connsiteX4" fmla="*/ 23477 w 56416"/>
                <a:gd name="connsiteY4" fmla="*/ 73372 h 89830"/>
                <a:gd name="connsiteX5" fmla="*/ 25391 w 56416"/>
                <a:gd name="connsiteY5" fmla="*/ 68396 h 89830"/>
                <a:gd name="connsiteX6" fmla="*/ 26730 w 56416"/>
                <a:gd name="connsiteY6" fmla="*/ 63292 h 89830"/>
                <a:gd name="connsiteX7" fmla="*/ 27368 w 56416"/>
                <a:gd name="connsiteY7" fmla="*/ 57997 h 89830"/>
                <a:gd name="connsiteX8" fmla="*/ 27623 w 56416"/>
                <a:gd name="connsiteY8" fmla="*/ 55509 h 89830"/>
                <a:gd name="connsiteX9" fmla="*/ 27496 w 56416"/>
                <a:gd name="connsiteY9" fmla="*/ 52574 h 89830"/>
                <a:gd name="connsiteX10" fmla="*/ 26922 w 56416"/>
                <a:gd name="connsiteY10" fmla="*/ 47471 h 89830"/>
                <a:gd name="connsiteX11" fmla="*/ 23413 w 56416"/>
                <a:gd name="connsiteY11" fmla="*/ 38667 h 89830"/>
                <a:gd name="connsiteX12" fmla="*/ 16459 w 56416"/>
                <a:gd name="connsiteY12" fmla="*/ 32989 h 89830"/>
                <a:gd name="connsiteX13" fmla="*/ 11994 w 56416"/>
                <a:gd name="connsiteY13" fmla="*/ 31522 h 89830"/>
                <a:gd name="connsiteX14" fmla="*/ 7464 w 56416"/>
                <a:gd name="connsiteY14" fmla="*/ 31075 h 89830"/>
                <a:gd name="connsiteX15" fmla="*/ 0 w 56416"/>
                <a:gd name="connsiteY15" fmla="*/ 31203 h 89830"/>
                <a:gd name="connsiteX16" fmla="*/ 2871 w 56416"/>
                <a:gd name="connsiteY16" fmla="*/ 24568 h 89830"/>
                <a:gd name="connsiteX17" fmla="*/ 9378 w 56416"/>
                <a:gd name="connsiteY17" fmla="*/ 13404 h 89830"/>
                <a:gd name="connsiteX18" fmla="*/ 18884 w 56416"/>
                <a:gd name="connsiteY18" fmla="*/ 4090 h 89830"/>
                <a:gd name="connsiteX19" fmla="*/ 32472 w 56416"/>
                <a:gd name="connsiteY19" fmla="*/ 7 h 89830"/>
                <a:gd name="connsiteX20" fmla="*/ 39808 w 56416"/>
                <a:gd name="connsiteY20" fmla="*/ 1538 h 89830"/>
                <a:gd name="connsiteX21" fmla="*/ 45231 w 56416"/>
                <a:gd name="connsiteY21" fmla="*/ 4664 h 89830"/>
                <a:gd name="connsiteX22" fmla="*/ 50335 w 56416"/>
                <a:gd name="connsiteY22" fmla="*/ 9959 h 89830"/>
                <a:gd name="connsiteX23" fmla="*/ 53461 w 56416"/>
                <a:gd name="connsiteY23" fmla="*/ 15764 h 89830"/>
                <a:gd name="connsiteX24" fmla="*/ 55374 w 56416"/>
                <a:gd name="connsiteY24" fmla="*/ 21889 h 89830"/>
                <a:gd name="connsiteX25" fmla="*/ 56331 w 56416"/>
                <a:gd name="connsiteY25" fmla="*/ 28013 h 89830"/>
                <a:gd name="connsiteX26" fmla="*/ 56331 w 56416"/>
                <a:gd name="connsiteY26" fmla="*/ 34137 h 89830"/>
                <a:gd name="connsiteX27" fmla="*/ 55821 w 56416"/>
                <a:gd name="connsiteY27" fmla="*/ 40198 h 89830"/>
                <a:gd name="connsiteX28" fmla="*/ 53269 w 56416"/>
                <a:gd name="connsiteY28" fmla="*/ 51872 h 89830"/>
                <a:gd name="connsiteX29" fmla="*/ 53269 w 56416"/>
                <a:gd name="connsiteY29" fmla="*/ 40070 h 89830"/>
                <a:gd name="connsiteX30" fmla="*/ 52759 w 56416"/>
                <a:gd name="connsiteY30" fmla="*/ 34265 h 89830"/>
                <a:gd name="connsiteX31" fmla="*/ 51738 w 56416"/>
                <a:gd name="connsiteY31" fmla="*/ 28651 h 89830"/>
                <a:gd name="connsiteX32" fmla="*/ 50271 w 56416"/>
                <a:gd name="connsiteY32" fmla="*/ 23228 h 89830"/>
                <a:gd name="connsiteX33" fmla="*/ 48038 w 56416"/>
                <a:gd name="connsiteY33" fmla="*/ 18252 h 89830"/>
                <a:gd name="connsiteX34" fmla="*/ 45039 w 56416"/>
                <a:gd name="connsiteY34" fmla="*/ 13978 h 89830"/>
                <a:gd name="connsiteX35" fmla="*/ 41786 w 56416"/>
                <a:gd name="connsiteY35" fmla="*/ 11043 h 89830"/>
                <a:gd name="connsiteX36" fmla="*/ 36682 w 56416"/>
                <a:gd name="connsiteY36" fmla="*/ 8874 h 89830"/>
                <a:gd name="connsiteX37" fmla="*/ 32536 w 56416"/>
                <a:gd name="connsiteY37" fmla="*/ 8364 h 89830"/>
                <a:gd name="connsiteX38" fmla="*/ 24051 w 56416"/>
                <a:gd name="connsiteY38" fmla="*/ 11490 h 89830"/>
                <a:gd name="connsiteX39" fmla="*/ 16970 w 56416"/>
                <a:gd name="connsiteY39" fmla="*/ 18826 h 89830"/>
                <a:gd name="connsiteX40" fmla="*/ 11739 w 56416"/>
                <a:gd name="connsiteY40" fmla="*/ 28077 h 89830"/>
                <a:gd name="connsiteX41" fmla="*/ 7145 w 56416"/>
                <a:gd name="connsiteY41" fmla="*/ 21570 h 89830"/>
                <a:gd name="connsiteX42" fmla="*/ 14099 w 56416"/>
                <a:gd name="connsiteY42" fmla="*/ 22399 h 89830"/>
                <a:gd name="connsiteX43" fmla="*/ 20542 w 56416"/>
                <a:gd name="connsiteY43" fmla="*/ 24568 h 89830"/>
                <a:gd name="connsiteX44" fmla="*/ 30941 w 56416"/>
                <a:gd name="connsiteY44" fmla="*/ 33691 h 89830"/>
                <a:gd name="connsiteX45" fmla="*/ 35215 w 56416"/>
                <a:gd name="connsiteY45" fmla="*/ 46386 h 89830"/>
                <a:gd name="connsiteX46" fmla="*/ 35406 w 56416"/>
                <a:gd name="connsiteY46" fmla="*/ 52766 h 89830"/>
                <a:gd name="connsiteX47" fmla="*/ 35215 w 56416"/>
                <a:gd name="connsiteY47" fmla="*/ 55636 h 89830"/>
                <a:gd name="connsiteX48" fmla="*/ 34641 w 56416"/>
                <a:gd name="connsiteY48" fmla="*/ 58890 h 89830"/>
                <a:gd name="connsiteX49" fmla="*/ 33238 w 56416"/>
                <a:gd name="connsiteY49" fmla="*/ 64951 h 89830"/>
                <a:gd name="connsiteX50" fmla="*/ 31004 w 56416"/>
                <a:gd name="connsiteY50" fmla="*/ 70756 h 89830"/>
                <a:gd name="connsiteX51" fmla="*/ 28070 w 56416"/>
                <a:gd name="connsiteY51" fmla="*/ 76242 h 89830"/>
                <a:gd name="connsiteX52" fmla="*/ 23923 w 56416"/>
                <a:gd name="connsiteY52" fmla="*/ 80899 h 89830"/>
                <a:gd name="connsiteX53" fmla="*/ 19011 w 56416"/>
                <a:gd name="connsiteY53" fmla="*/ 84599 h 89830"/>
                <a:gd name="connsiteX54" fmla="*/ 13652 w 56416"/>
                <a:gd name="connsiteY54" fmla="*/ 87406 h 89830"/>
                <a:gd name="connsiteX55" fmla="*/ 2105 w 56416"/>
                <a:gd name="connsiteY55" fmla="*/ 89831 h 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6416" h="89830">
                  <a:moveTo>
                    <a:pt x="2105" y="89831"/>
                  </a:moveTo>
                  <a:cubicBezTo>
                    <a:pt x="5806" y="88619"/>
                    <a:pt x="9314" y="87215"/>
                    <a:pt x="12440" y="85046"/>
                  </a:cubicBezTo>
                  <a:cubicBezTo>
                    <a:pt x="14035" y="84025"/>
                    <a:pt x="15566" y="83068"/>
                    <a:pt x="16778" y="81665"/>
                  </a:cubicBezTo>
                  <a:cubicBezTo>
                    <a:pt x="17990" y="80261"/>
                    <a:pt x="19585" y="79368"/>
                    <a:pt x="20415" y="77710"/>
                  </a:cubicBezTo>
                  <a:lnTo>
                    <a:pt x="23477" y="73372"/>
                  </a:lnTo>
                  <a:cubicBezTo>
                    <a:pt x="24242" y="71777"/>
                    <a:pt x="24753" y="70054"/>
                    <a:pt x="25391" y="68396"/>
                  </a:cubicBezTo>
                  <a:cubicBezTo>
                    <a:pt x="26092" y="66801"/>
                    <a:pt x="26730" y="65142"/>
                    <a:pt x="26730" y="63292"/>
                  </a:cubicBezTo>
                  <a:lnTo>
                    <a:pt x="27368" y="57997"/>
                  </a:lnTo>
                  <a:cubicBezTo>
                    <a:pt x="27432" y="57168"/>
                    <a:pt x="27687" y="56083"/>
                    <a:pt x="27623" y="55509"/>
                  </a:cubicBezTo>
                  <a:lnTo>
                    <a:pt x="27496" y="52574"/>
                  </a:lnTo>
                  <a:cubicBezTo>
                    <a:pt x="27496" y="50533"/>
                    <a:pt x="27177" y="49065"/>
                    <a:pt x="26922" y="47471"/>
                  </a:cubicBezTo>
                  <a:cubicBezTo>
                    <a:pt x="26284" y="44281"/>
                    <a:pt x="25263" y="41027"/>
                    <a:pt x="23413" y="38667"/>
                  </a:cubicBezTo>
                  <a:cubicBezTo>
                    <a:pt x="21627" y="36243"/>
                    <a:pt x="19330" y="34265"/>
                    <a:pt x="16459" y="32989"/>
                  </a:cubicBezTo>
                  <a:cubicBezTo>
                    <a:pt x="15056" y="32351"/>
                    <a:pt x="13525" y="31905"/>
                    <a:pt x="11994" y="31522"/>
                  </a:cubicBezTo>
                  <a:cubicBezTo>
                    <a:pt x="10526" y="31203"/>
                    <a:pt x="8676" y="31011"/>
                    <a:pt x="7464" y="31075"/>
                  </a:cubicBezTo>
                  <a:lnTo>
                    <a:pt x="0" y="31203"/>
                  </a:lnTo>
                  <a:lnTo>
                    <a:pt x="2871" y="24568"/>
                  </a:lnTo>
                  <a:cubicBezTo>
                    <a:pt x="4721" y="20358"/>
                    <a:pt x="6826" y="16913"/>
                    <a:pt x="9378" y="13404"/>
                  </a:cubicBezTo>
                  <a:cubicBezTo>
                    <a:pt x="11930" y="9959"/>
                    <a:pt x="14992" y="6642"/>
                    <a:pt x="18884" y="4090"/>
                  </a:cubicBezTo>
                  <a:cubicBezTo>
                    <a:pt x="22711" y="1538"/>
                    <a:pt x="27560" y="-121"/>
                    <a:pt x="32472" y="7"/>
                  </a:cubicBezTo>
                  <a:cubicBezTo>
                    <a:pt x="35024" y="134"/>
                    <a:pt x="36938" y="262"/>
                    <a:pt x="39808" y="1538"/>
                  </a:cubicBezTo>
                  <a:cubicBezTo>
                    <a:pt x="41595" y="2622"/>
                    <a:pt x="43253" y="2878"/>
                    <a:pt x="45231" y="4664"/>
                  </a:cubicBezTo>
                  <a:cubicBezTo>
                    <a:pt x="47017" y="6386"/>
                    <a:pt x="49314" y="7981"/>
                    <a:pt x="50335" y="9959"/>
                  </a:cubicBezTo>
                  <a:cubicBezTo>
                    <a:pt x="51419" y="11937"/>
                    <a:pt x="52823" y="13723"/>
                    <a:pt x="53461" y="15764"/>
                  </a:cubicBezTo>
                  <a:cubicBezTo>
                    <a:pt x="54099" y="17806"/>
                    <a:pt x="54864" y="19847"/>
                    <a:pt x="55374" y="21889"/>
                  </a:cubicBezTo>
                  <a:lnTo>
                    <a:pt x="56331" y="28013"/>
                  </a:lnTo>
                  <a:cubicBezTo>
                    <a:pt x="56523" y="30054"/>
                    <a:pt x="56331" y="32096"/>
                    <a:pt x="56331" y="34137"/>
                  </a:cubicBezTo>
                  <a:cubicBezTo>
                    <a:pt x="56395" y="36179"/>
                    <a:pt x="56076" y="38156"/>
                    <a:pt x="55821" y="40198"/>
                  </a:cubicBezTo>
                  <a:cubicBezTo>
                    <a:pt x="55502" y="44217"/>
                    <a:pt x="54354" y="48109"/>
                    <a:pt x="53269" y="51872"/>
                  </a:cubicBezTo>
                  <a:cubicBezTo>
                    <a:pt x="53269" y="47853"/>
                    <a:pt x="53652" y="43962"/>
                    <a:pt x="53269" y="40070"/>
                  </a:cubicBezTo>
                  <a:cubicBezTo>
                    <a:pt x="53205" y="38156"/>
                    <a:pt x="53142" y="36243"/>
                    <a:pt x="52759" y="34265"/>
                  </a:cubicBezTo>
                  <a:cubicBezTo>
                    <a:pt x="52376" y="32415"/>
                    <a:pt x="52248" y="30501"/>
                    <a:pt x="51738" y="28651"/>
                  </a:cubicBezTo>
                  <a:lnTo>
                    <a:pt x="50271" y="23228"/>
                  </a:lnTo>
                  <a:lnTo>
                    <a:pt x="48038" y="18252"/>
                  </a:lnTo>
                  <a:cubicBezTo>
                    <a:pt x="47273" y="16594"/>
                    <a:pt x="45997" y="15382"/>
                    <a:pt x="45039" y="13978"/>
                  </a:cubicBezTo>
                  <a:cubicBezTo>
                    <a:pt x="44083" y="12447"/>
                    <a:pt x="42679" y="12128"/>
                    <a:pt x="41786" y="11043"/>
                  </a:cubicBezTo>
                  <a:cubicBezTo>
                    <a:pt x="40893" y="10023"/>
                    <a:pt x="38341" y="9576"/>
                    <a:pt x="36682" y="8874"/>
                  </a:cubicBezTo>
                  <a:cubicBezTo>
                    <a:pt x="35981" y="8492"/>
                    <a:pt x="33811" y="8300"/>
                    <a:pt x="32536" y="8364"/>
                  </a:cubicBezTo>
                  <a:cubicBezTo>
                    <a:pt x="29537" y="8428"/>
                    <a:pt x="26666" y="9576"/>
                    <a:pt x="24051" y="11490"/>
                  </a:cubicBezTo>
                  <a:cubicBezTo>
                    <a:pt x="21372" y="13340"/>
                    <a:pt x="19011" y="15956"/>
                    <a:pt x="16970" y="18826"/>
                  </a:cubicBezTo>
                  <a:cubicBezTo>
                    <a:pt x="14928" y="21633"/>
                    <a:pt x="13078" y="25078"/>
                    <a:pt x="11739" y="28077"/>
                  </a:cubicBezTo>
                  <a:lnTo>
                    <a:pt x="7145" y="21570"/>
                  </a:lnTo>
                  <a:cubicBezTo>
                    <a:pt x="9825" y="21570"/>
                    <a:pt x="11802" y="21825"/>
                    <a:pt x="14099" y="22399"/>
                  </a:cubicBezTo>
                  <a:cubicBezTo>
                    <a:pt x="16268" y="22909"/>
                    <a:pt x="18437" y="23611"/>
                    <a:pt x="20542" y="24568"/>
                  </a:cubicBezTo>
                  <a:cubicBezTo>
                    <a:pt x="24689" y="26546"/>
                    <a:pt x="28453" y="29672"/>
                    <a:pt x="30941" y="33691"/>
                  </a:cubicBezTo>
                  <a:cubicBezTo>
                    <a:pt x="33556" y="37646"/>
                    <a:pt x="34641" y="42048"/>
                    <a:pt x="35215" y="46386"/>
                  </a:cubicBezTo>
                  <a:cubicBezTo>
                    <a:pt x="35343" y="48555"/>
                    <a:pt x="35662" y="50916"/>
                    <a:pt x="35406" y="52766"/>
                  </a:cubicBezTo>
                  <a:lnTo>
                    <a:pt x="35215" y="55636"/>
                  </a:lnTo>
                  <a:cubicBezTo>
                    <a:pt x="35151" y="56976"/>
                    <a:pt x="34832" y="57805"/>
                    <a:pt x="34641" y="58890"/>
                  </a:cubicBezTo>
                  <a:lnTo>
                    <a:pt x="33238" y="64951"/>
                  </a:lnTo>
                  <a:cubicBezTo>
                    <a:pt x="32919" y="66992"/>
                    <a:pt x="32025" y="68906"/>
                    <a:pt x="31004" y="70756"/>
                  </a:cubicBezTo>
                  <a:cubicBezTo>
                    <a:pt x="30048" y="72606"/>
                    <a:pt x="29155" y="74520"/>
                    <a:pt x="28070" y="76242"/>
                  </a:cubicBezTo>
                  <a:lnTo>
                    <a:pt x="23923" y="80899"/>
                  </a:lnTo>
                  <a:cubicBezTo>
                    <a:pt x="22647" y="82558"/>
                    <a:pt x="20606" y="83324"/>
                    <a:pt x="19011" y="84599"/>
                  </a:cubicBezTo>
                  <a:cubicBezTo>
                    <a:pt x="17416" y="85875"/>
                    <a:pt x="15502" y="86641"/>
                    <a:pt x="13652" y="87406"/>
                  </a:cubicBezTo>
                  <a:cubicBezTo>
                    <a:pt x="10016" y="89001"/>
                    <a:pt x="5997" y="89639"/>
                    <a:pt x="2105" y="89831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0BE6304A-737C-462D-9178-85497561BB2A}"/>
                </a:ext>
              </a:extLst>
            </p:cNvPr>
            <p:cNvSpPr/>
            <p:nvPr/>
          </p:nvSpPr>
          <p:spPr>
            <a:xfrm>
              <a:off x="9944816" y="2575834"/>
              <a:ext cx="94181" cy="162933"/>
            </a:xfrm>
            <a:custGeom>
              <a:avLst/>
              <a:gdLst>
                <a:gd name="connsiteX0" fmla="*/ 69683 w 94181"/>
                <a:gd name="connsiteY0" fmla="*/ 32217 h 162933"/>
                <a:gd name="connsiteX1" fmla="*/ 11183 w 94181"/>
                <a:gd name="connsiteY1" fmla="*/ 16013 h 162933"/>
                <a:gd name="connsiteX2" fmla="*/ 94181 w 94181"/>
                <a:gd name="connsiteY2" fmla="*/ 162934 h 162933"/>
                <a:gd name="connsiteX3" fmla="*/ 69683 w 94181"/>
                <a:gd name="connsiteY3" fmla="*/ 32217 h 1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181" h="162933">
                  <a:moveTo>
                    <a:pt x="69683" y="32217"/>
                  </a:moveTo>
                  <a:cubicBezTo>
                    <a:pt x="69683" y="32217"/>
                    <a:pt x="41614" y="-27814"/>
                    <a:pt x="11183" y="16013"/>
                  </a:cubicBezTo>
                  <a:cubicBezTo>
                    <a:pt x="-19247" y="59905"/>
                    <a:pt x="13735" y="149154"/>
                    <a:pt x="94181" y="162934"/>
                  </a:cubicBezTo>
                  <a:cubicBezTo>
                    <a:pt x="87993" y="83764"/>
                    <a:pt x="69683" y="32217"/>
                    <a:pt x="69683" y="32217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124395E-6DDE-4232-9343-6F97444630B0}"/>
                </a:ext>
              </a:extLst>
            </p:cNvPr>
            <p:cNvSpPr/>
            <p:nvPr/>
          </p:nvSpPr>
          <p:spPr>
            <a:xfrm>
              <a:off x="9956382" y="2596109"/>
              <a:ext cx="53205" cy="95004"/>
            </a:xfrm>
            <a:custGeom>
              <a:avLst/>
              <a:gdLst>
                <a:gd name="connsiteX0" fmla="*/ 53205 w 53205"/>
                <a:gd name="connsiteY0" fmla="*/ 95004 h 95004"/>
                <a:gd name="connsiteX1" fmla="*/ 41786 w 53205"/>
                <a:gd name="connsiteY1" fmla="*/ 92006 h 95004"/>
                <a:gd name="connsiteX2" fmla="*/ 36618 w 53205"/>
                <a:gd name="connsiteY2" fmla="*/ 88880 h 95004"/>
                <a:gd name="connsiteX3" fmla="*/ 32025 w 53205"/>
                <a:gd name="connsiteY3" fmla="*/ 84861 h 95004"/>
                <a:gd name="connsiteX4" fmla="*/ 28134 w 53205"/>
                <a:gd name="connsiteY4" fmla="*/ 80012 h 95004"/>
                <a:gd name="connsiteX5" fmla="*/ 25327 w 53205"/>
                <a:gd name="connsiteY5" fmla="*/ 74526 h 95004"/>
                <a:gd name="connsiteX6" fmla="*/ 23158 w 53205"/>
                <a:gd name="connsiteY6" fmla="*/ 68784 h 95004"/>
                <a:gd name="connsiteX7" fmla="*/ 21627 w 53205"/>
                <a:gd name="connsiteY7" fmla="*/ 62851 h 95004"/>
                <a:gd name="connsiteX8" fmla="*/ 20925 w 53205"/>
                <a:gd name="connsiteY8" fmla="*/ 59470 h 95004"/>
                <a:gd name="connsiteX9" fmla="*/ 20733 w 53205"/>
                <a:gd name="connsiteY9" fmla="*/ 56599 h 95004"/>
                <a:gd name="connsiteX10" fmla="*/ 20478 w 53205"/>
                <a:gd name="connsiteY10" fmla="*/ 50794 h 95004"/>
                <a:gd name="connsiteX11" fmla="*/ 21244 w 53205"/>
                <a:gd name="connsiteY11" fmla="*/ 44351 h 95004"/>
                <a:gd name="connsiteX12" fmla="*/ 23094 w 53205"/>
                <a:gd name="connsiteY12" fmla="*/ 37716 h 95004"/>
                <a:gd name="connsiteX13" fmla="*/ 26666 w 53205"/>
                <a:gd name="connsiteY13" fmla="*/ 31719 h 95004"/>
                <a:gd name="connsiteX14" fmla="*/ 32025 w 53205"/>
                <a:gd name="connsiteY14" fmla="*/ 26998 h 95004"/>
                <a:gd name="connsiteX15" fmla="*/ 38405 w 53205"/>
                <a:gd name="connsiteY15" fmla="*/ 24000 h 95004"/>
                <a:gd name="connsiteX16" fmla="*/ 45550 w 53205"/>
                <a:gd name="connsiteY16" fmla="*/ 22788 h 95004"/>
                <a:gd name="connsiteX17" fmla="*/ 41020 w 53205"/>
                <a:gd name="connsiteY17" fmla="*/ 29231 h 95004"/>
                <a:gd name="connsiteX18" fmla="*/ 28899 w 53205"/>
                <a:gd name="connsiteY18" fmla="*/ 11687 h 95004"/>
                <a:gd name="connsiteX19" fmla="*/ 20797 w 53205"/>
                <a:gd name="connsiteY19" fmla="*/ 8498 h 95004"/>
                <a:gd name="connsiteX20" fmla="*/ 18628 w 53205"/>
                <a:gd name="connsiteY20" fmla="*/ 8753 h 95004"/>
                <a:gd name="connsiteX21" fmla="*/ 16332 w 53205"/>
                <a:gd name="connsiteY21" fmla="*/ 9518 h 95004"/>
                <a:gd name="connsiteX22" fmla="*/ 12695 w 53205"/>
                <a:gd name="connsiteY22" fmla="*/ 11879 h 95004"/>
                <a:gd name="connsiteX23" fmla="*/ 4721 w 53205"/>
                <a:gd name="connsiteY23" fmla="*/ 31783 h 95004"/>
                <a:gd name="connsiteX24" fmla="*/ 4274 w 53205"/>
                <a:gd name="connsiteY24" fmla="*/ 55451 h 95004"/>
                <a:gd name="connsiteX25" fmla="*/ 0 w 53205"/>
                <a:gd name="connsiteY25" fmla="*/ 31464 h 95004"/>
                <a:gd name="connsiteX26" fmla="*/ 7337 w 53205"/>
                <a:gd name="connsiteY26" fmla="*/ 6839 h 95004"/>
                <a:gd name="connsiteX27" fmla="*/ 13270 w 53205"/>
                <a:gd name="connsiteY27" fmla="*/ 2118 h 95004"/>
                <a:gd name="connsiteX28" fmla="*/ 16587 w 53205"/>
                <a:gd name="connsiteY28" fmla="*/ 842 h 95004"/>
                <a:gd name="connsiteX29" fmla="*/ 20287 w 53205"/>
                <a:gd name="connsiteY29" fmla="*/ 77 h 95004"/>
                <a:gd name="connsiteX30" fmla="*/ 34386 w 53205"/>
                <a:gd name="connsiteY30" fmla="*/ 4478 h 95004"/>
                <a:gd name="connsiteX31" fmla="*/ 43508 w 53205"/>
                <a:gd name="connsiteY31" fmla="*/ 14303 h 95004"/>
                <a:gd name="connsiteX32" fmla="*/ 49760 w 53205"/>
                <a:gd name="connsiteY32" fmla="*/ 25658 h 95004"/>
                <a:gd name="connsiteX33" fmla="*/ 52248 w 53205"/>
                <a:gd name="connsiteY33" fmla="*/ 31783 h 95004"/>
                <a:gd name="connsiteX34" fmla="*/ 45231 w 53205"/>
                <a:gd name="connsiteY34" fmla="*/ 32102 h 95004"/>
                <a:gd name="connsiteX35" fmla="*/ 41020 w 53205"/>
                <a:gd name="connsiteY35" fmla="*/ 32804 h 95004"/>
                <a:gd name="connsiteX36" fmla="*/ 36874 w 53205"/>
                <a:gd name="connsiteY36" fmla="*/ 34590 h 95004"/>
                <a:gd name="connsiteX37" fmla="*/ 33493 w 53205"/>
                <a:gd name="connsiteY37" fmla="*/ 37461 h 95004"/>
                <a:gd name="connsiteX38" fmla="*/ 31068 w 53205"/>
                <a:gd name="connsiteY38" fmla="*/ 41288 h 95004"/>
                <a:gd name="connsiteX39" fmla="*/ 29601 w 53205"/>
                <a:gd name="connsiteY39" fmla="*/ 45690 h 95004"/>
                <a:gd name="connsiteX40" fmla="*/ 28644 w 53205"/>
                <a:gd name="connsiteY40" fmla="*/ 50666 h 95004"/>
                <a:gd name="connsiteX41" fmla="*/ 28453 w 53205"/>
                <a:gd name="connsiteY41" fmla="*/ 56472 h 95004"/>
                <a:gd name="connsiteX42" fmla="*/ 28325 w 53205"/>
                <a:gd name="connsiteY42" fmla="*/ 59406 h 95004"/>
                <a:gd name="connsiteX43" fmla="*/ 28644 w 53205"/>
                <a:gd name="connsiteY43" fmla="*/ 61703 h 95004"/>
                <a:gd name="connsiteX44" fmla="*/ 29410 w 53205"/>
                <a:gd name="connsiteY44" fmla="*/ 67062 h 95004"/>
                <a:gd name="connsiteX45" fmla="*/ 30749 w 53205"/>
                <a:gd name="connsiteY45" fmla="*/ 72293 h 95004"/>
                <a:gd name="connsiteX46" fmla="*/ 32599 w 53205"/>
                <a:gd name="connsiteY46" fmla="*/ 77397 h 95004"/>
                <a:gd name="connsiteX47" fmla="*/ 35470 w 53205"/>
                <a:gd name="connsiteY47" fmla="*/ 81990 h 95004"/>
                <a:gd name="connsiteX48" fmla="*/ 38851 w 53205"/>
                <a:gd name="connsiteY48" fmla="*/ 86264 h 95004"/>
                <a:gd name="connsiteX49" fmla="*/ 42998 w 53205"/>
                <a:gd name="connsiteY49" fmla="*/ 89964 h 95004"/>
                <a:gd name="connsiteX50" fmla="*/ 53205 w 53205"/>
                <a:gd name="connsiteY50" fmla="*/ 95004 h 95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05" h="95004">
                  <a:moveTo>
                    <a:pt x="53205" y="95004"/>
                  </a:moveTo>
                  <a:cubicBezTo>
                    <a:pt x="49378" y="94749"/>
                    <a:pt x="45295" y="93983"/>
                    <a:pt x="41786" y="92006"/>
                  </a:cubicBezTo>
                  <a:cubicBezTo>
                    <a:pt x="39872" y="91240"/>
                    <a:pt x="38213" y="90092"/>
                    <a:pt x="36618" y="88880"/>
                  </a:cubicBezTo>
                  <a:cubicBezTo>
                    <a:pt x="34960" y="87731"/>
                    <a:pt x="33238" y="86455"/>
                    <a:pt x="32025" y="84861"/>
                  </a:cubicBezTo>
                  <a:cubicBezTo>
                    <a:pt x="30686" y="83329"/>
                    <a:pt x="29282" y="81735"/>
                    <a:pt x="28134" y="80012"/>
                  </a:cubicBezTo>
                  <a:lnTo>
                    <a:pt x="25327" y="74526"/>
                  </a:lnTo>
                  <a:cubicBezTo>
                    <a:pt x="24306" y="72676"/>
                    <a:pt x="23540" y="70762"/>
                    <a:pt x="23158" y="68784"/>
                  </a:cubicBezTo>
                  <a:lnTo>
                    <a:pt x="21627" y="62851"/>
                  </a:lnTo>
                  <a:cubicBezTo>
                    <a:pt x="21371" y="61639"/>
                    <a:pt x="21116" y="61256"/>
                    <a:pt x="20925" y="59470"/>
                  </a:cubicBezTo>
                  <a:lnTo>
                    <a:pt x="20733" y="56599"/>
                  </a:lnTo>
                  <a:lnTo>
                    <a:pt x="20478" y="50794"/>
                  </a:lnTo>
                  <a:cubicBezTo>
                    <a:pt x="20223" y="48944"/>
                    <a:pt x="20861" y="46583"/>
                    <a:pt x="21244" y="44351"/>
                  </a:cubicBezTo>
                  <a:cubicBezTo>
                    <a:pt x="21882" y="42181"/>
                    <a:pt x="21818" y="39693"/>
                    <a:pt x="23094" y="37716"/>
                  </a:cubicBezTo>
                  <a:cubicBezTo>
                    <a:pt x="24242" y="35738"/>
                    <a:pt x="25135" y="33505"/>
                    <a:pt x="26666" y="31719"/>
                  </a:cubicBezTo>
                  <a:cubicBezTo>
                    <a:pt x="28389" y="30124"/>
                    <a:pt x="29984" y="28210"/>
                    <a:pt x="32025" y="26998"/>
                  </a:cubicBezTo>
                  <a:cubicBezTo>
                    <a:pt x="34130" y="25850"/>
                    <a:pt x="36108" y="24574"/>
                    <a:pt x="38405" y="24000"/>
                  </a:cubicBezTo>
                  <a:cubicBezTo>
                    <a:pt x="40701" y="23234"/>
                    <a:pt x="42743" y="22852"/>
                    <a:pt x="45550" y="22788"/>
                  </a:cubicBezTo>
                  <a:lnTo>
                    <a:pt x="41020" y="29231"/>
                  </a:lnTo>
                  <a:cubicBezTo>
                    <a:pt x="38213" y="22724"/>
                    <a:pt x="34130" y="15770"/>
                    <a:pt x="28899" y="11687"/>
                  </a:cubicBezTo>
                  <a:cubicBezTo>
                    <a:pt x="26348" y="9582"/>
                    <a:pt x="23604" y="8370"/>
                    <a:pt x="20797" y="8498"/>
                  </a:cubicBezTo>
                  <a:cubicBezTo>
                    <a:pt x="20096" y="8434"/>
                    <a:pt x="19394" y="8753"/>
                    <a:pt x="18628" y="8753"/>
                  </a:cubicBezTo>
                  <a:cubicBezTo>
                    <a:pt x="18692" y="8498"/>
                    <a:pt x="17033" y="9327"/>
                    <a:pt x="16332" y="9518"/>
                  </a:cubicBezTo>
                  <a:cubicBezTo>
                    <a:pt x="14864" y="10156"/>
                    <a:pt x="14035" y="10730"/>
                    <a:pt x="12695" y="11879"/>
                  </a:cubicBezTo>
                  <a:cubicBezTo>
                    <a:pt x="7911" y="16408"/>
                    <a:pt x="5678" y="24319"/>
                    <a:pt x="4721" y="31783"/>
                  </a:cubicBezTo>
                  <a:cubicBezTo>
                    <a:pt x="3445" y="39502"/>
                    <a:pt x="3700" y="47477"/>
                    <a:pt x="4274" y="55451"/>
                  </a:cubicBezTo>
                  <a:cubicBezTo>
                    <a:pt x="1595" y="47859"/>
                    <a:pt x="255" y="39757"/>
                    <a:pt x="0" y="31464"/>
                  </a:cubicBezTo>
                  <a:cubicBezTo>
                    <a:pt x="319" y="23298"/>
                    <a:pt x="1212" y="14431"/>
                    <a:pt x="7337" y="6839"/>
                  </a:cubicBezTo>
                  <a:cubicBezTo>
                    <a:pt x="8804" y="5116"/>
                    <a:pt x="11100" y="3203"/>
                    <a:pt x="13270" y="2118"/>
                  </a:cubicBezTo>
                  <a:cubicBezTo>
                    <a:pt x="14418" y="1671"/>
                    <a:pt x="14545" y="1352"/>
                    <a:pt x="16587" y="842"/>
                  </a:cubicBezTo>
                  <a:cubicBezTo>
                    <a:pt x="17799" y="587"/>
                    <a:pt x="19011" y="204"/>
                    <a:pt x="20287" y="77"/>
                  </a:cubicBezTo>
                  <a:cubicBezTo>
                    <a:pt x="25518" y="-434"/>
                    <a:pt x="30622" y="1671"/>
                    <a:pt x="34386" y="4478"/>
                  </a:cubicBezTo>
                  <a:cubicBezTo>
                    <a:pt x="38149" y="7285"/>
                    <a:pt x="41020" y="10730"/>
                    <a:pt x="43508" y="14303"/>
                  </a:cubicBezTo>
                  <a:cubicBezTo>
                    <a:pt x="45933" y="17939"/>
                    <a:pt x="48038" y="21512"/>
                    <a:pt x="49760" y="25658"/>
                  </a:cubicBezTo>
                  <a:lnTo>
                    <a:pt x="52248" y="31783"/>
                  </a:lnTo>
                  <a:lnTo>
                    <a:pt x="45231" y="32102"/>
                  </a:lnTo>
                  <a:cubicBezTo>
                    <a:pt x="44146" y="32102"/>
                    <a:pt x="42360" y="32357"/>
                    <a:pt x="41020" y="32804"/>
                  </a:cubicBezTo>
                  <a:cubicBezTo>
                    <a:pt x="39489" y="33059"/>
                    <a:pt x="38277" y="34016"/>
                    <a:pt x="36874" y="34590"/>
                  </a:cubicBezTo>
                  <a:cubicBezTo>
                    <a:pt x="35598" y="35292"/>
                    <a:pt x="34705" y="36568"/>
                    <a:pt x="33493" y="37461"/>
                  </a:cubicBezTo>
                  <a:cubicBezTo>
                    <a:pt x="32535" y="38609"/>
                    <a:pt x="31962" y="40076"/>
                    <a:pt x="31068" y="41288"/>
                  </a:cubicBezTo>
                  <a:cubicBezTo>
                    <a:pt x="30048" y="42500"/>
                    <a:pt x="30175" y="44223"/>
                    <a:pt x="29601" y="45690"/>
                  </a:cubicBezTo>
                  <a:cubicBezTo>
                    <a:pt x="29218" y="47221"/>
                    <a:pt x="28453" y="48497"/>
                    <a:pt x="28644" y="50666"/>
                  </a:cubicBezTo>
                  <a:lnTo>
                    <a:pt x="28453" y="56472"/>
                  </a:lnTo>
                  <a:lnTo>
                    <a:pt x="28325" y="59406"/>
                  </a:lnTo>
                  <a:lnTo>
                    <a:pt x="28644" y="61703"/>
                  </a:lnTo>
                  <a:lnTo>
                    <a:pt x="29410" y="67062"/>
                  </a:lnTo>
                  <a:cubicBezTo>
                    <a:pt x="29537" y="68912"/>
                    <a:pt x="29984" y="70634"/>
                    <a:pt x="30749" y="72293"/>
                  </a:cubicBezTo>
                  <a:lnTo>
                    <a:pt x="32599" y="77397"/>
                  </a:lnTo>
                  <a:cubicBezTo>
                    <a:pt x="33429" y="78991"/>
                    <a:pt x="34577" y="80395"/>
                    <a:pt x="35470" y="81990"/>
                  </a:cubicBezTo>
                  <a:cubicBezTo>
                    <a:pt x="36300" y="83648"/>
                    <a:pt x="37576" y="84988"/>
                    <a:pt x="38851" y="86264"/>
                  </a:cubicBezTo>
                  <a:cubicBezTo>
                    <a:pt x="40063" y="87604"/>
                    <a:pt x="41403" y="88943"/>
                    <a:pt x="42998" y="89964"/>
                  </a:cubicBezTo>
                  <a:cubicBezTo>
                    <a:pt x="45997" y="92197"/>
                    <a:pt x="49505" y="93792"/>
                    <a:pt x="53205" y="9500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8F88901-1FBF-473E-852B-B46524E2FC3C}"/>
                </a:ext>
              </a:extLst>
            </p:cNvPr>
            <p:cNvSpPr/>
            <p:nvPr/>
          </p:nvSpPr>
          <p:spPr>
            <a:xfrm>
              <a:off x="9990576" y="2115424"/>
              <a:ext cx="509469" cy="867106"/>
            </a:xfrm>
            <a:custGeom>
              <a:avLst/>
              <a:gdLst>
                <a:gd name="connsiteX0" fmla="*/ 0 w 509469"/>
                <a:gd name="connsiteY0" fmla="*/ 509533 h 867106"/>
                <a:gd name="connsiteX1" fmla="*/ 254735 w 509469"/>
                <a:gd name="connsiteY1" fmla="*/ 867106 h 867106"/>
                <a:gd name="connsiteX2" fmla="*/ 509470 w 509469"/>
                <a:gd name="connsiteY2" fmla="*/ 509533 h 867106"/>
                <a:gd name="connsiteX3" fmla="*/ 254735 w 509469"/>
                <a:gd name="connsiteY3" fmla="*/ 0 h 867106"/>
                <a:gd name="connsiteX4" fmla="*/ 0 w 509469"/>
                <a:gd name="connsiteY4" fmla="*/ 509533 h 86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469" h="867106">
                  <a:moveTo>
                    <a:pt x="0" y="509533"/>
                  </a:moveTo>
                  <a:cubicBezTo>
                    <a:pt x="0" y="681462"/>
                    <a:pt x="195533" y="867106"/>
                    <a:pt x="254735" y="867106"/>
                  </a:cubicBezTo>
                  <a:cubicBezTo>
                    <a:pt x="321911" y="867106"/>
                    <a:pt x="509470" y="627300"/>
                    <a:pt x="509470" y="509533"/>
                  </a:cubicBezTo>
                  <a:cubicBezTo>
                    <a:pt x="509470" y="228132"/>
                    <a:pt x="446312" y="0"/>
                    <a:pt x="254735" y="0"/>
                  </a:cubicBezTo>
                  <a:cubicBezTo>
                    <a:pt x="45103" y="-64"/>
                    <a:pt x="0" y="228068"/>
                    <a:pt x="0" y="50953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24DD753-F066-4D1A-BABF-1C98A6408895}"/>
                </a:ext>
              </a:extLst>
            </p:cNvPr>
            <p:cNvSpPr/>
            <p:nvPr/>
          </p:nvSpPr>
          <p:spPr>
            <a:xfrm>
              <a:off x="10294808" y="2555835"/>
              <a:ext cx="121731" cy="84397"/>
            </a:xfrm>
            <a:custGeom>
              <a:avLst/>
              <a:gdLst>
                <a:gd name="connsiteX0" fmla="*/ 136 w 121731"/>
                <a:gd name="connsiteY0" fmla="*/ 42136 h 84397"/>
                <a:gd name="connsiteX1" fmla="*/ 58381 w 121731"/>
                <a:gd name="connsiteY1" fmla="*/ 83476 h 84397"/>
                <a:gd name="connsiteX2" fmla="*/ 121666 w 121731"/>
                <a:gd name="connsiteY2" fmla="*/ 42774 h 84397"/>
                <a:gd name="connsiteX3" fmla="*/ 67759 w 121731"/>
                <a:gd name="connsiteY3" fmla="*/ 159 h 84397"/>
                <a:gd name="connsiteX4" fmla="*/ 136 w 121731"/>
                <a:gd name="connsiteY4" fmla="*/ 42136 h 84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731" h="84397">
                  <a:moveTo>
                    <a:pt x="136" y="42136"/>
                  </a:moveTo>
                  <a:cubicBezTo>
                    <a:pt x="-1778" y="73524"/>
                    <a:pt x="16467" y="88388"/>
                    <a:pt x="58381" y="83476"/>
                  </a:cubicBezTo>
                  <a:cubicBezTo>
                    <a:pt x="94489" y="79202"/>
                    <a:pt x="120135" y="67017"/>
                    <a:pt x="121666" y="42774"/>
                  </a:cubicBezTo>
                  <a:cubicBezTo>
                    <a:pt x="123006" y="20637"/>
                    <a:pt x="103867" y="2392"/>
                    <a:pt x="67759" y="159"/>
                  </a:cubicBezTo>
                  <a:cubicBezTo>
                    <a:pt x="31523" y="-2074"/>
                    <a:pt x="1475" y="19553"/>
                    <a:pt x="136" y="42136"/>
                  </a:cubicBezTo>
                  <a:close/>
                </a:path>
              </a:pathLst>
            </a:custGeom>
            <a:solidFill>
              <a:srgbClr val="FAF3EE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3892472E-ADDF-4F82-8959-2DDF2E775660}"/>
                </a:ext>
              </a:extLst>
            </p:cNvPr>
            <p:cNvSpPr/>
            <p:nvPr/>
          </p:nvSpPr>
          <p:spPr>
            <a:xfrm>
              <a:off x="10309796" y="2558924"/>
              <a:ext cx="79448" cy="79760"/>
            </a:xfrm>
            <a:custGeom>
              <a:avLst/>
              <a:gdLst>
                <a:gd name="connsiteX0" fmla="*/ 75 w 79448"/>
                <a:gd name="connsiteY0" fmla="*/ 37453 h 79760"/>
                <a:gd name="connsiteX1" fmla="*/ 37268 w 79448"/>
                <a:gd name="connsiteY1" fmla="*/ 79685 h 79760"/>
                <a:gd name="connsiteX2" fmla="*/ 79373 w 79448"/>
                <a:gd name="connsiteY2" fmla="*/ 42301 h 79760"/>
                <a:gd name="connsiteX3" fmla="*/ 42181 w 79448"/>
                <a:gd name="connsiteY3" fmla="*/ 69 h 79760"/>
                <a:gd name="connsiteX4" fmla="*/ 75 w 79448"/>
                <a:gd name="connsiteY4" fmla="*/ 37453 h 7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448" h="79760">
                  <a:moveTo>
                    <a:pt x="75" y="37453"/>
                  </a:moveTo>
                  <a:cubicBezTo>
                    <a:pt x="-1264" y="59462"/>
                    <a:pt x="15387" y="78346"/>
                    <a:pt x="37268" y="79685"/>
                  </a:cubicBezTo>
                  <a:cubicBezTo>
                    <a:pt x="59150" y="81025"/>
                    <a:pt x="78034" y="64311"/>
                    <a:pt x="79373" y="42301"/>
                  </a:cubicBezTo>
                  <a:cubicBezTo>
                    <a:pt x="80713" y="20292"/>
                    <a:pt x="64062" y="1408"/>
                    <a:pt x="42181" y="69"/>
                  </a:cubicBezTo>
                  <a:cubicBezTo>
                    <a:pt x="20235" y="-1207"/>
                    <a:pt x="1415" y="15443"/>
                    <a:pt x="75" y="37453"/>
                  </a:cubicBez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E3E55E1-3D12-4BF2-8151-C1FB092DC47A}"/>
                </a:ext>
              </a:extLst>
            </p:cNvPr>
            <p:cNvSpPr/>
            <p:nvPr/>
          </p:nvSpPr>
          <p:spPr>
            <a:xfrm>
              <a:off x="10279441" y="2447279"/>
              <a:ext cx="174033" cy="55637"/>
            </a:xfrm>
            <a:custGeom>
              <a:avLst/>
              <a:gdLst>
                <a:gd name="connsiteX0" fmla="*/ 174034 w 174033"/>
                <a:gd name="connsiteY0" fmla="*/ 55637 h 55637"/>
                <a:gd name="connsiteX1" fmla="*/ 112152 w 174033"/>
                <a:gd name="connsiteY1" fmla="*/ 2049 h 55637"/>
                <a:gd name="connsiteX2" fmla="*/ 0 w 174033"/>
                <a:gd name="connsiteY2" fmla="*/ 13596 h 55637"/>
                <a:gd name="connsiteX3" fmla="*/ 9442 w 174033"/>
                <a:gd name="connsiteY3" fmla="*/ 33883 h 55637"/>
                <a:gd name="connsiteX4" fmla="*/ 112471 w 174033"/>
                <a:gd name="connsiteY4" fmla="*/ 20486 h 55637"/>
                <a:gd name="connsiteX5" fmla="*/ 174034 w 174033"/>
                <a:gd name="connsiteY5" fmla="*/ 55637 h 5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033" h="55637">
                  <a:moveTo>
                    <a:pt x="174034" y="55637"/>
                  </a:moveTo>
                  <a:cubicBezTo>
                    <a:pt x="174034" y="55637"/>
                    <a:pt x="152853" y="10406"/>
                    <a:pt x="112152" y="2049"/>
                  </a:cubicBezTo>
                  <a:cubicBezTo>
                    <a:pt x="71514" y="-6308"/>
                    <a:pt x="0" y="13596"/>
                    <a:pt x="0" y="13596"/>
                  </a:cubicBezTo>
                  <a:lnTo>
                    <a:pt x="9442" y="33883"/>
                  </a:lnTo>
                  <a:cubicBezTo>
                    <a:pt x="9442" y="33883"/>
                    <a:pt x="74066" y="12384"/>
                    <a:pt x="112471" y="20486"/>
                  </a:cubicBezTo>
                  <a:cubicBezTo>
                    <a:pt x="154831" y="29290"/>
                    <a:pt x="174034" y="55637"/>
                    <a:pt x="174034" y="55637"/>
                  </a:cubicBez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4DF9EA1-0FDF-418B-B922-1FA609810058}"/>
                </a:ext>
              </a:extLst>
            </p:cNvPr>
            <p:cNvSpPr/>
            <p:nvPr/>
          </p:nvSpPr>
          <p:spPr>
            <a:xfrm>
              <a:off x="10023048" y="2452243"/>
              <a:ext cx="164846" cy="65537"/>
            </a:xfrm>
            <a:custGeom>
              <a:avLst/>
              <a:gdLst>
                <a:gd name="connsiteX0" fmla="*/ 0 w 164846"/>
                <a:gd name="connsiteY0" fmla="*/ 65538 h 65537"/>
                <a:gd name="connsiteX1" fmla="*/ 54162 w 164846"/>
                <a:gd name="connsiteY1" fmla="*/ 6144 h 65537"/>
                <a:gd name="connsiteX2" fmla="*/ 164847 w 164846"/>
                <a:gd name="connsiteY2" fmla="*/ 4549 h 65537"/>
                <a:gd name="connsiteX3" fmla="*/ 157957 w 164846"/>
                <a:gd name="connsiteY3" fmla="*/ 25410 h 65537"/>
                <a:gd name="connsiteX4" fmla="*/ 56012 w 164846"/>
                <a:gd name="connsiteY4" fmla="*/ 24134 h 65537"/>
                <a:gd name="connsiteX5" fmla="*/ 0 w 164846"/>
                <a:gd name="connsiteY5" fmla="*/ 65538 h 6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846" h="65537">
                  <a:moveTo>
                    <a:pt x="0" y="65538"/>
                  </a:moveTo>
                  <a:cubicBezTo>
                    <a:pt x="0" y="65538"/>
                    <a:pt x="15438" y="18967"/>
                    <a:pt x="54162" y="6144"/>
                  </a:cubicBezTo>
                  <a:cubicBezTo>
                    <a:pt x="92886" y="-6679"/>
                    <a:pt x="164847" y="4549"/>
                    <a:pt x="164847" y="4549"/>
                  </a:cubicBezTo>
                  <a:lnTo>
                    <a:pt x="157957" y="25410"/>
                  </a:lnTo>
                  <a:cubicBezTo>
                    <a:pt x="157957" y="25410"/>
                    <a:pt x="92439" y="11886"/>
                    <a:pt x="56012" y="24134"/>
                  </a:cubicBezTo>
                  <a:cubicBezTo>
                    <a:pt x="15693" y="37659"/>
                    <a:pt x="0" y="65538"/>
                    <a:pt x="0" y="65538"/>
                  </a:cubicBezTo>
                  <a:close/>
                </a:path>
              </a:pathLst>
            </a:custGeom>
            <a:solidFill>
              <a:schemeClr val="tx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grpSp>
          <p:nvGrpSpPr>
            <p:cNvPr id="88" name="Graphic 4">
              <a:extLst>
                <a:ext uri="{FF2B5EF4-FFF2-40B4-BE49-F238E27FC236}">
                  <a16:creationId xmlns:a16="http://schemas.microsoft.com/office/drawing/2014/main" id="{77934D34-D660-495A-8D7A-0E8094C14290}"/>
                </a:ext>
              </a:extLst>
            </p:cNvPr>
            <p:cNvGrpSpPr/>
            <p:nvPr/>
          </p:nvGrpSpPr>
          <p:grpSpPr>
            <a:xfrm>
              <a:off x="10057101" y="2548416"/>
              <a:ext cx="125383" cy="91531"/>
              <a:chOff x="18577136" y="1026895"/>
              <a:chExt cx="125383" cy="91531"/>
            </a:xfrm>
          </p:grpSpPr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4E47B796-E676-4148-8755-B0B01FBE4200}"/>
                  </a:ext>
                </a:extLst>
              </p:cNvPr>
              <p:cNvSpPr/>
              <p:nvPr/>
            </p:nvSpPr>
            <p:spPr>
              <a:xfrm>
                <a:off x="18577136" y="1026895"/>
                <a:ext cx="125383" cy="91531"/>
              </a:xfrm>
              <a:custGeom>
                <a:avLst/>
                <a:gdLst>
                  <a:gd name="connsiteX0" fmla="*/ 125180 w 125383"/>
                  <a:gd name="connsiteY0" fmla="*/ 51087 h 91531"/>
                  <a:gd name="connsiteX1" fmla="*/ 65468 w 125383"/>
                  <a:gd name="connsiteY1" fmla="*/ 90704 h 91531"/>
                  <a:gd name="connsiteX2" fmla="*/ 141 w 125383"/>
                  <a:gd name="connsiteY2" fmla="*/ 55106 h 91531"/>
                  <a:gd name="connsiteX3" fmla="*/ 52963 w 125383"/>
                  <a:gd name="connsiteY3" fmla="*/ 242 h 91531"/>
                  <a:gd name="connsiteX4" fmla="*/ 125180 w 125383"/>
                  <a:gd name="connsiteY4" fmla="*/ 51087 h 9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5383" h="91531">
                    <a:moveTo>
                      <a:pt x="125180" y="51087"/>
                    </a:moveTo>
                    <a:cubicBezTo>
                      <a:pt x="127923" y="82410"/>
                      <a:pt x="102660" y="95042"/>
                      <a:pt x="65468" y="90704"/>
                    </a:cubicBezTo>
                    <a:cubicBezTo>
                      <a:pt x="26297" y="86110"/>
                      <a:pt x="1800" y="74563"/>
                      <a:pt x="141" y="55106"/>
                    </a:cubicBezTo>
                    <a:cubicBezTo>
                      <a:pt x="-1773" y="33033"/>
                      <a:pt x="15771" y="3495"/>
                      <a:pt x="52963" y="242"/>
                    </a:cubicBezTo>
                    <a:cubicBezTo>
                      <a:pt x="90092" y="-3075"/>
                      <a:pt x="123202" y="28439"/>
                      <a:pt x="125180" y="51087"/>
                    </a:cubicBezTo>
                    <a:close/>
                  </a:path>
                </a:pathLst>
              </a:custGeom>
              <a:solidFill>
                <a:srgbClr val="FAF3EE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10161CE9-58DD-41BB-89DB-8B85D62B8694}"/>
                  </a:ext>
                </a:extLst>
              </p:cNvPr>
              <p:cNvSpPr/>
              <p:nvPr/>
            </p:nvSpPr>
            <p:spPr>
              <a:xfrm>
                <a:off x="18606598" y="1035216"/>
                <a:ext cx="80304" cy="81384"/>
              </a:xfrm>
              <a:custGeom>
                <a:avLst/>
                <a:gdLst>
                  <a:gd name="connsiteX0" fmla="*/ 153 w 80304"/>
                  <a:gd name="connsiteY0" fmla="*/ 44169 h 81384"/>
                  <a:gd name="connsiteX1" fmla="*/ 43661 w 80304"/>
                  <a:gd name="connsiteY1" fmla="*/ 81234 h 81384"/>
                  <a:gd name="connsiteX2" fmla="*/ 80152 w 80304"/>
                  <a:gd name="connsiteY2" fmla="*/ 37215 h 81384"/>
                  <a:gd name="connsiteX3" fmla="*/ 36644 w 80304"/>
                  <a:gd name="connsiteY3" fmla="*/ 150 h 81384"/>
                  <a:gd name="connsiteX4" fmla="*/ 153 w 80304"/>
                  <a:gd name="connsiteY4" fmla="*/ 44169 h 8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304" h="81384">
                    <a:moveTo>
                      <a:pt x="153" y="44169"/>
                    </a:moveTo>
                    <a:cubicBezTo>
                      <a:pt x="2067" y="66561"/>
                      <a:pt x="21588" y="83148"/>
                      <a:pt x="43661" y="81234"/>
                    </a:cubicBezTo>
                    <a:cubicBezTo>
                      <a:pt x="65735" y="79320"/>
                      <a:pt x="82066" y="59608"/>
                      <a:pt x="80152" y="37215"/>
                    </a:cubicBezTo>
                    <a:cubicBezTo>
                      <a:pt x="78238" y="14823"/>
                      <a:pt x="58717" y="-1764"/>
                      <a:pt x="36644" y="150"/>
                    </a:cubicBezTo>
                    <a:cubicBezTo>
                      <a:pt x="14507" y="2128"/>
                      <a:pt x="-1761" y="21777"/>
                      <a:pt x="153" y="44169"/>
                    </a:cubicBezTo>
                    <a:close/>
                  </a:path>
                </a:pathLst>
              </a:custGeom>
              <a:solidFill>
                <a:schemeClr val="tx1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</p:grp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DD6C161-7064-476A-860B-B7565356C161}"/>
                </a:ext>
              </a:extLst>
            </p:cNvPr>
            <p:cNvSpPr/>
            <p:nvPr/>
          </p:nvSpPr>
          <p:spPr>
            <a:xfrm>
              <a:off x="10297176" y="2539576"/>
              <a:ext cx="119552" cy="54503"/>
            </a:xfrm>
            <a:custGeom>
              <a:avLst/>
              <a:gdLst>
                <a:gd name="connsiteX0" fmla="*/ 0 w 119552"/>
                <a:gd name="connsiteY0" fmla="*/ 47550 h 54503"/>
                <a:gd name="connsiteX1" fmla="*/ 63859 w 119552"/>
                <a:gd name="connsiteY1" fmla="*/ 150 h 54503"/>
                <a:gd name="connsiteX2" fmla="*/ 119552 w 119552"/>
                <a:gd name="connsiteY2" fmla="*/ 54504 h 54503"/>
                <a:gd name="connsiteX3" fmla="*/ 58628 w 119552"/>
                <a:gd name="connsiteY3" fmla="*/ 19736 h 54503"/>
                <a:gd name="connsiteX4" fmla="*/ 0 w 119552"/>
                <a:gd name="connsiteY4" fmla="*/ 47550 h 5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52" h="54503">
                  <a:moveTo>
                    <a:pt x="0" y="47550"/>
                  </a:moveTo>
                  <a:cubicBezTo>
                    <a:pt x="0" y="47550"/>
                    <a:pt x="6316" y="-3103"/>
                    <a:pt x="63859" y="150"/>
                  </a:cubicBezTo>
                  <a:cubicBezTo>
                    <a:pt x="114194" y="2957"/>
                    <a:pt x="119552" y="54504"/>
                    <a:pt x="119552" y="54504"/>
                  </a:cubicBezTo>
                  <a:cubicBezTo>
                    <a:pt x="119552" y="54504"/>
                    <a:pt x="94290" y="20884"/>
                    <a:pt x="58628" y="19736"/>
                  </a:cubicBezTo>
                  <a:cubicBezTo>
                    <a:pt x="22967" y="18651"/>
                    <a:pt x="0" y="47550"/>
                    <a:pt x="0" y="47550"/>
                  </a:cubicBezTo>
                  <a:close/>
                </a:path>
              </a:pathLst>
            </a:custGeom>
            <a:solidFill>
              <a:srgbClr val="29180C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E2AD39A-080D-4576-A210-55FB7B2AF846}"/>
                </a:ext>
              </a:extLst>
            </p:cNvPr>
            <p:cNvSpPr/>
            <p:nvPr/>
          </p:nvSpPr>
          <p:spPr>
            <a:xfrm>
              <a:off x="10057091" y="2539088"/>
              <a:ext cx="118937" cy="54034"/>
            </a:xfrm>
            <a:custGeom>
              <a:avLst/>
              <a:gdLst>
                <a:gd name="connsiteX0" fmla="*/ 118938 w 118937"/>
                <a:gd name="connsiteY0" fmla="*/ 43509 h 54034"/>
                <a:gd name="connsiteX1" fmla="*/ 51315 w 118937"/>
                <a:gd name="connsiteY1" fmla="*/ 319 h 54034"/>
                <a:gd name="connsiteX2" fmla="*/ 23 w 118937"/>
                <a:gd name="connsiteY2" fmla="*/ 54035 h 54034"/>
                <a:gd name="connsiteX3" fmla="*/ 51378 w 118937"/>
                <a:gd name="connsiteY3" fmla="*/ 18437 h 54034"/>
                <a:gd name="connsiteX4" fmla="*/ 118938 w 118937"/>
                <a:gd name="connsiteY4" fmla="*/ 43509 h 54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937" h="54034">
                  <a:moveTo>
                    <a:pt x="118938" y="43509"/>
                  </a:moveTo>
                  <a:cubicBezTo>
                    <a:pt x="118938" y="43509"/>
                    <a:pt x="103053" y="-4338"/>
                    <a:pt x="51315" y="319"/>
                  </a:cubicBezTo>
                  <a:cubicBezTo>
                    <a:pt x="-2720" y="5231"/>
                    <a:pt x="23" y="54035"/>
                    <a:pt x="23" y="54035"/>
                  </a:cubicBezTo>
                  <a:cubicBezTo>
                    <a:pt x="23" y="54035"/>
                    <a:pt x="11634" y="23030"/>
                    <a:pt x="51378" y="18437"/>
                  </a:cubicBezTo>
                  <a:cubicBezTo>
                    <a:pt x="93803" y="13461"/>
                    <a:pt x="118938" y="43509"/>
                    <a:pt x="118938" y="43509"/>
                  </a:cubicBezTo>
                  <a:close/>
                </a:path>
              </a:pathLst>
            </a:custGeom>
            <a:solidFill>
              <a:srgbClr val="29180C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00BD596-C181-47CB-A2DE-D0CD7B49E36E}"/>
                </a:ext>
              </a:extLst>
            </p:cNvPr>
            <p:cNvSpPr/>
            <p:nvPr/>
          </p:nvSpPr>
          <p:spPr>
            <a:xfrm>
              <a:off x="10394337" y="2694940"/>
              <a:ext cx="11801" cy="6124"/>
            </a:xfrm>
            <a:custGeom>
              <a:avLst/>
              <a:gdLst>
                <a:gd name="connsiteX0" fmla="*/ 11802 w 11801"/>
                <a:gd name="connsiteY0" fmla="*/ 0 h 6124"/>
                <a:gd name="connsiteX1" fmla="*/ 0 w 11801"/>
                <a:gd name="connsiteY1" fmla="*/ 0 h 6124"/>
                <a:gd name="connsiteX2" fmla="*/ 0 w 11801"/>
                <a:gd name="connsiteY2" fmla="*/ 6124 h 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01" h="6124">
                  <a:moveTo>
                    <a:pt x="11802" y="0"/>
                  </a:moveTo>
                  <a:lnTo>
                    <a:pt x="0" y="0"/>
                  </a:lnTo>
                  <a:lnTo>
                    <a:pt x="0" y="61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E259EAF-B313-40C0-8A07-2AF13FEA4475}"/>
                </a:ext>
              </a:extLst>
            </p:cNvPr>
            <p:cNvSpPr/>
            <p:nvPr/>
          </p:nvSpPr>
          <p:spPr>
            <a:xfrm>
              <a:off x="10338707" y="2726966"/>
              <a:ext cx="6826" cy="11802"/>
            </a:xfrm>
            <a:custGeom>
              <a:avLst/>
              <a:gdLst>
                <a:gd name="connsiteX0" fmla="*/ 0 w 6826"/>
                <a:gd name="connsiteY0" fmla="*/ 0 h 11802"/>
                <a:gd name="connsiteX1" fmla="*/ 702 w 6826"/>
                <a:gd name="connsiteY1" fmla="*/ 11802 h 11802"/>
                <a:gd name="connsiteX2" fmla="*/ 6826 w 6826"/>
                <a:gd name="connsiteY2" fmla="*/ 11419 h 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6" h="11802">
                  <a:moveTo>
                    <a:pt x="0" y="0"/>
                  </a:moveTo>
                  <a:lnTo>
                    <a:pt x="702" y="11802"/>
                  </a:lnTo>
                  <a:lnTo>
                    <a:pt x="6826" y="1141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8364DE4-5835-49EC-AE07-D6C24AFBE46D}"/>
                </a:ext>
              </a:extLst>
            </p:cNvPr>
            <p:cNvSpPr/>
            <p:nvPr/>
          </p:nvSpPr>
          <p:spPr>
            <a:xfrm>
              <a:off x="10309744" y="2670443"/>
              <a:ext cx="12503" cy="3955"/>
            </a:xfrm>
            <a:custGeom>
              <a:avLst/>
              <a:gdLst>
                <a:gd name="connsiteX0" fmla="*/ 0 w 12503"/>
                <a:gd name="connsiteY0" fmla="*/ 0 h 3955"/>
                <a:gd name="connsiteX1" fmla="*/ 11228 w 12503"/>
                <a:gd name="connsiteY1" fmla="*/ 3955 h 3955"/>
                <a:gd name="connsiteX2" fmla="*/ 12504 w 12503"/>
                <a:gd name="connsiteY2" fmla="*/ 319 h 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03" h="3955">
                  <a:moveTo>
                    <a:pt x="0" y="0"/>
                  </a:moveTo>
                  <a:lnTo>
                    <a:pt x="11228" y="3955"/>
                  </a:lnTo>
                  <a:lnTo>
                    <a:pt x="12504" y="319"/>
                  </a:lnTo>
                  <a:close/>
                </a:path>
              </a:pathLst>
            </a:custGeom>
            <a:solidFill>
              <a:srgbClr val="D4976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44610259-8D0D-45B5-A62F-94C1607B254E}"/>
                </a:ext>
              </a:extLst>
            </p:cNvPr>
            <p:cNvSpPr/>
            <p:nvPr/>
          </p:nvSpPr>
          <p:spPr>
            <a:xfrm>
              <a:off x="10399950" y="2738768"/>
              <a:ext cx="12440" cy="3955"/>
            </a:xfrm>
            <a:custGeom>
              <a:avLst/>
              <a:gdLst>
                <a:gd name="connsiteX0" fmla="*/ 0 w 12440"/>
                <a:gd name="connsiteY0" fmla="*/ 0 h 3955"/>
                <a:gd name="connsiteX1" fmla="*/ 11164 w 12440"/>
                <a:gd name="connsiteY1" fmla="*/ 3955 h 3955"/>
                <a:gd name="connsiteX2" fmla="*/ 12440 w 12440"/>
                <a:gd name="connsiteY2" fmla="*/ 255 h 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40" h="3955">
                  <a:moveTo>
                    <a:pt x="0" y="0"/>
                  </a:moveTo>
                  <a:lnTo>
                    <a:pt x="11164" y="3955"/>
                  </a:lnTo>
                  <a:lnTo>
                    <a:pt x="12440" y="25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7B86E51-1F40-41FF-8147-ECA4DADA2B18}"/>
                </a:ext>
              </a:extLst>
            </p:cNvPr>
            <p:cNvSpPr/>
            <p:nvPr/>
          </p:nvSpPr>
          <p:spPr>
            <a:xfrm>
              <a:off x="10109746" y="2724988"/>
              <a:ext cx="12440" cy="3955"/>
            </a:xfrm>
            <a:custGeom>
              <a:avLst/>
              <a:gdLst>
                <a:gd name="connsiteX0" fmla="*/ 0 w 12440"/>
                <a:gd name="connsiteY0" fmla="*/ 0 h 3955"/>
                <a:gd name="connsiteX1" fmla="*/ 11164 w 12440"/>
                <a:gd name="connsiteY1" fmla="*/ 3955 h 3955"/>
                <a:gd name="connsiteX2" fmla="*/ 12440 w 12440"/>
                <a:gd name="connsiteY2" fmla="*/ 319 h 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40" h="3955">
                  <a:moveTo>
                    <a:pt x="0" y="0"/>
                  </a:moveTo>
                  <a:lnTo>
                    <a:pt x="11164" y="3955"/>
                  </a:lnTo>
                  <a:lnTo>
                    <a:pt x="12440" y="31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C734EB-7EB4-494B-A5E4-29F045F75AEF}"/>
                </a:ext>
              </a:extLst>
            </p:cNvPr>
            <p:cNvSpPr/>
            <p:nvPr/>
          </p:nvSpPr>
          <p:spPr>
            <a:xfrm>
              <a:off x="10052075" y="2688561"/>
              <a:ext cx="11164" cy="8357"/>
            </a:xfrm>
            <a:custGeom>
              <a:avLst/>
              <a:gdLst>
                <a:gd name="connsiteX0" fmla="*/ 0 w 11164"/>
                <a:gd name="connsiteY0" fmla="*/ 4402 h 8357"/>
                <a:gd name="connsiteX1" fmla="*/ 11164 w 11164"/>
                <a:gd name="connsiteY1" fmla="*/ 8357 h 8357"/>
                <a:gd name="connsiteX2" fmla="*/ 5295 w 11164"/>
                <a:gd name="connsiteY2" fmla="*/ 0 h 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64" h="8357">
                  <a:moveTo>
                    <a:pt x="0" y="4402"/>
                  </a:moveTo>
                  <a:lnTo>
                    <a:pt x="11164" y="8357"/>
                  </a:lnTo>
                  <a:lnTo>
                    <a:pt x="5295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59A35FB-4B5C-4B70-AE39-214D542D91FC}"/>
                </a:ext>
              </a:extLst>
            </p:cNvPr>
            <p:cNvSpPr/>
            <p:nvPr/>
          </p:nvSpPr>
          <p:spPr>
            <a:xfrm>
              <a:off x="10069873" y="2746296"/>
              <a:ext cx="10079" cy="8102"/>
            </a:xfrm>
            <a:custGeom>
              <a:avLst/>
              <a:gdLst>
                <a:gd name="connsiteX0" fmla="*/ 1468 w 10079"/>
                <a:gd name="connsiteY0" fmla="*/ 8102 h 8102"/>
                <a:gd name="connsiteX1" fmla="*/ 10080 w 10079"/>
                <a:gd name="connsiteY1" fmla="*/ 0 h 8102"/>
                <a:gd name="connsiteX2" fmla="*/ 0 w 10079"/>
                <a:gd name="connsiteY2" fmla="*/ 1404 h 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9" h="8102">
                  <a:moveTo>
                    <a:pt x="1468" y="8102"/>
                  </a:moveTo>
                  <a:lnTo>
                    <a:pt x="10080" y="0"/>
                  </a:lnTo>
                  <a:lnTo>
                    <a:pt x="0" y="14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4E7979A-D96D-4B45-A7CA-EC46F8F238C2}"/>
                </a:ext>
              </a:extLst>
            </p:cNvPr>
            <p:cNvSpPr/>
            <p:nvPr/>
          </p:nvSpPr>
          <p:spPr>
            <a:xfrm>
              <a:off x="9985919" y="2003591"/>
              <a:ext cx="518401" cy="654986"/>
            </a:xfrm>
            <a:custGeom>
              <a:avLst/>
              <a:gdLst>
                <a:gd name="connsiteX0" fmla="*/ 518401 w 518401"/>
                <a:gd name="connsiteY0" fmla="*/ 633870 h 654986"/>
                <a:gd name="connsiteX1" fmla="*/ 496647 w 518401"/>
                <a:gd name="connsiteY1" fmla="*/ 264176 h 654986"/>
                <a:gd name="connsiteX2" fmla="*/ 216776 w 518401"/>
                <a:gd name="connsiteY2" fmla="*/ 1212 h 654986"/>
                <a:gd name="connsiteX3" fmla="*/ 0 w 518401"/>
                <a:gd name="connsiteY3" fmla="*/ 298753 h 654986"/>
                <a:gd name="connsiteX4" fmla="*/ 0 w 518401"/>
                <a:gd name="connsiteY4" fmla="*/ 654986 h 654986"/>
                <a:gd name="connsiteX5" fmla="*/ 42169 w 518401"/>
                <a:gd name="connsiteY5" fmla="*/ 370970 h 654986"/>
                <a:gd name="connsiteX6" fmla="*/ 440124 w 518401"/>
                <a:gd name="connsiteY6" fmla="*/ 262517 h 654986"/>
                <a:gd name="connsiteX7" fmla="*/ 518401 w 518401"/>
                <a:gd name="connsiteY7" fmla="*/ 633870 h 654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401" h="654986">
                  <a:moveTo>
                    <a:pt x="518401" y="633870"/>
                  </a:moveTo>
                  <a:cubicBezTo>
                    <a:pt x="518401" y="633870"/>
                    <a:pt x="505387" y="329503"/>
                    <a:pt x="496647" y="264176"/>
                  </a:cubicBezTo>
                  <a:cubicBezTo>
                    <a:pt x="496647" y="205102"/>
                    <a:pt x="348195" y="-18373"/>
                    <a:pt x="216776" y="1212"/>
                  </a:cubicBezTo>
                  <a:cubicBezTo>
                    <a:pt x="102328" y="18181"/>
                    <a:pt x="0" y="298753"/>
                    <a:pt x="0" y="298753"/>
                  </a:cubicBezTo>
                  <a:lnTo>
                    <a:pt x="0" y="654986"/>
                  </a:lnTo>
                  <a:lnTo>
                    <a:pt x="42169" y="370970"/>
                  </a:lnTo>
                  <a:cubicBezTo>
                    <a:pt x="42169" y="370970"/>
                    <a:pt x="302964" y="373904"/>
                    <a:pt x="440124" y="262517"/>
                  </a:cubicBezTo>
                  <a:cubicBezTo>
                    <a:pt x="488034" y="440570"/>
                    <a:pt x="518401" y="633870"/>
                    <a:pt x="518401" y="633870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8598EC33-CCDA-4808-934A-B8391D16FFE2}"/>
                </a:ext>
              </a:extLst>
            </p:cNvPr>
            <p:cNvSpPr/>
            <p:nvPr/>
          </p:nvSpPr>
          <p:spPr>
            <a:xfrm>
              <a:off x="10402789" y="2146938"/>
              <a:ext cx="27592" cy="131290"/>
            </a:xfrm>
            <a:custGeom>
              <a:avLst/>
              <a:gdLst>
                <a:gd name="connsiteX0" fmla="*/ 16300 w 27592"/>
                <a:gd name="connsiteY0" fmla="*/ 124401 h 131290"/>
                <a:gd name="connsiteX1" fmla="*/ 6922 w 27592"/>
                <a:gd name="connsiteY1" fmla="*/ 131291 h 131290"/>
                <a:gd name="connsiteX2" fmla="*/ 21213 w 27592"/>
                <a:gd name="connsiteY2" fmla="*/ 0 h 131290"/>
                <a:gd name="connsiteX3" fmla="*/ 27592 w 27592"/>
                <a:gd name="connsiteY3" fmla="*/ 8995 h 131290"/>
                <a:gd name="connsiteX4" fmla="*/ 16300 w 27592"/>
                <a:gd name="connsiteY4" fmla="*/ 124401 h 131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2" h="131290">
                  <a:moveTo>
                    <a:pt x="16300" y="124401"/>
                  </a:moveTo>
                  <a:cubicBezTo>
                    <a:pt x="13174" y="126761"/>
                    <a:pt x="10112" y="129122"/>
                    <a:pt x="6922" y="131291"/>
                  </a:cubicBezTo>
                  <a:cubicBezTo>
                    <a:pt x="351" y="101945"/>
                    <a:pt x="-9601" y="35789"/>
                    <a:pt x="21213" y="0"/>
                  </a:cubicBezTo>
                  <a:cubicBezTo>
                    <a:pt x="23382" y="2998"/>
                    <a:pt x="25551" y="5997"/>
                    <a:pt x="27592" y="8995"/>
                  </a:cubicBezTo>
                  <a:cubicBezTo>
                    <a:pt x="3605" y="39936"/>
                    <a:pt x="10431" y="95565"/>
                    <a:pt x="16300" y="124401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3D14F6E-4362-43A9-9835-E53B437191E3}"/>
                </a:ext>
              </a:extLst>
            </p:cNvPr>
            <p:cNvSpPr/>
            <p:nvPr/>
          </p:nvSpPr>
          <p:spPr>
            <a:xfrm>
              <a:off x="10249983" y="2008503"/>
              <a:ext cx="37815" cy="330587"/>
            </a:xfrm>
            <a:custGeom>
              <a:avLst/>
              <a:gdLst>
                <a:gd name="connsiteX0" fmla="*/ 37815 w 37815"/>
                <a:gd name="connsiteY0" fmla="*/ 327462 h 330587"/>
                <a:gd name="connsiteX1" fmla="*/ 27735 w 37815"/>
                <a:gd name="connsiteY1" fmla="*/ 330588 h 330587"/>
                <a:gd name="connsiteX2" fmla="*/ 4067 w 37815"/>
                <a:gd name="connsiteY2" fmla="*/ 0 h 330587"/>
                <a:gd name="connsiteX3" fmla="*/ 14211 w 37815"/>
                <a:gd name="connsiteY3" fmla="*/ 3126 h 330587"/>
                <a:gd name="connsiteX4" fmla="*/ 37815 w 37815"/>
                <a:gd name="connsiteY4" fmla="*/ 327462 h 330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15" h="330587">
                  <a:moveTo>
                    <a:pt x="37815" y="327462"/>
                  </a:moveTo>
                  <a:cubicBezTo>
                    <a:pt x="34434" y="328546"/>
                    <a:pt x="31117" y="329567"/>
                    <a:pt x="27735" y="330588"/>
                  </a:cubicBezTo>
                  <a:cubicBezTo>
                    <a:pt x="17145" y="273172"/>
                    <a:pt x="-10287" y="107814"/>
                    <a:pt x="4067" y="0"/>
                  </a:cubicBezTo>
                  <a:cubicBezTo>
                    <a:pt x="7448" y="957"/>
                    <a:pt x="10829" y="1978"/>
                    <a:pt x="14211" y="3126"/>
                  </a:cubicBezTo>
                  <a:cubicBezTo>
                    <a:pt x="1005" y="107559"/>
                    <a:pt x="27416" y="269982"/>
                    <a:pt x="37815" y="327462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F1C85B0-5DB5-4AD7-AB4A-EBD8887A8FEC}"/>
                </a:ext>
              </a:extLst>
            </p:cNvPr>
            <p:cNvSpPr/>
            <p:nvPr/>
          </p:nvSpPr>
          <p:spPr>
            <a:xfrm>
              <a:off x="10072936" y="2113765"/>
              <a:ext cx="73173" cy="253777"/>
            </a:xfrm>
            <a:custGeom>
              <a:avLst/>
              <a:gdLst>
                <a:gd name="connsiteX0" fmla="*/ 6060 w 73173"/>
                <a:gd name="connsiteY0" fmla="*/ 0 h 253777"/>
                <a:gd name="connsiteX1" fmla="*/ 73173 w 73173"/>
                <a:gd name="connsiteY1" fmla="*/ 252502 h 253777"/>
                <a:gd name="connsiteX2" fmla="*/ 62647 w 73173"/>
                <a:gd name="connsiteY2" fmla="*/ 253778 h 253777"/>
                <a:gd name="connsiteX3" fmla="*/ 0 w 73173"/>
                <a:gd name="connsiteY3" fmla="*/ 9506 h 253777"/>
                <a:gd name="connsiteX4" fmla="*/ 6060 w 73173"/>
                <a:gd name="connsiteY4" fmla="*/ 0 h 25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173" h="253777">
                  <a:moveTo>
                    <a:pt x="6060" y="0"/>
                  </a:moveTo>
                  <a:cubicBezTo>
                    <a:pt x="65964" y="72790"/>
                    <a:pt x="72726" y="205549"/>
                    <a:pt x="73173" y="252502"/>
                  </a:cubicBezTo>
                  <a:cubicBezTo>
                    <a:pt x="69601" y="252949"/>
                    <a:pt x="66092" y="253395"/>
                    <a:pt x="62647" y="253778"/>
                  </a:cubicBezTo>
                  <a:cubicBezTo>
                    <a:pt x="62073" y="209887"/>
                    <a:pt x="55502" y="80574"/>
                    <a:pt x="0" y="9506"/>
                  </a:cubicBezTo>
                  <a:cubicBezTo>
                    <a:pt x="2041" y="6316"/>
                    <a:pt x="4019" y="3126"/>
                    <a:pt x="6060" y="0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379CD65-8FF2-4EB8-8EF7-2827AA5EE4E6}"/>
                </a:ext>
              </a:extLst>
            </p:cNvPr>
            <p:cNvSpPr/>
            <p:nvPr/>
          </p:nvSpPr>
          <p:spPr>
            <a:xfrm>
              <a:off x="9986302" y="2318038"/>
              <a:ext cx="41020" cy="78978"/>
            </a:xfrm>
            <a:custGeom>
              <a:avLst/>
              <a:gdLst>
                <a:gd name="connsiteX0" fmla="*/ 37703 w 41020"/>
                <a:gd name="connsiteY0" fmla="*/ 78979 h 78978"/>
                <a:gd name="connsiteX1" fmla="*/ 255 w 41020"/>
                <a:gd name="connsiteY1" fmla="*/ 16204 h 78978"/>
                <a:gd name="connsiteX2" fmla="*/ 0 w 41020"/>
                <a:gd name="connsiteY2" fmla="*/ 0 h 78978"/>
                <a:gd name="connsiteX3" fmla="*/ 41020 w 41020"/>
                <a:gd name="connsiteY3" fmla="*/ 60988 h 78978"/>
                <a:gd name="connsiteX4" fmla="*/ 37703 w 41020"/>
                <a:gd name="connsiteY4" fmla="*/ 78979 h 7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20" h="78978">
                  <a:moveTo>
                    <a:pt x="37703" y="78979"/>
                  </a:moveTo>
                  <a:cubicBezTo>
                    <a:pt x="30558" y="62775"/>
                    <a:pt x="17799" y="37448"/>
                    <a:pt x="255" y="16204"/>
                  </a:cubicBezTo>
                  <a:lnTo>
                    <a:pt x="0" y="0"/>
                  </a:lnTo>
                  <a:cubicBezTo>
                    <a:pt x="18118" y="18820"/>
                    <a:pt x="31898" y="42360"/>
                    <a:pt x="41020" y="60988"/>
                  </a:cubicBezTo>
                  <a:lnTo>
                    <a:pt x="37703" y="78979"/>
                  </a:ln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8491EA6F-32A2-4878-8579-E4CFCAFB561C}"/>
                </a:ext>
              </a:extLst>
            </p:cNvPr>
            <p:cNvSpPr/>
            <p:nvPr/>
          </p:nvSpPr>
          <p:spPr>
            <a:xfrm>
              <a:off x="10152361" y="2806136"/>
              <a:ext cx="173906" cy="88124"/>
            </a:xfrm>
            <a:custGeom>
              <a:avLst/>
              <a:gdLst>
                <a:gd name="connsiteX0" fmla="*/ 171227 w 173906"/>
                <a:gd name="connsiteY0" fmla="*/ 0 h 88124"/>
                <a:gd name="connsiteX1" fmla="*/ 0 w 173906"/>
                <a:gd name="connsiteY1" fmla="*/ 18820 h 88124"/>
                <a:gd name="connsiteX2" fmla="*/ 101818 w 173906"/>
                <a:gd name="connsiteY2" fmla="*/ 87527 h 88124"/>
                <a:gd name="connsiteX3" fmla="*/ 173906 w 173906"/>
                <a:gd name="connsiteY3" fmla="*/ 6698 h 88124"/>
                <a:gd name="connsiteX4" fmla="*/ 171227 w 173906"/>
                <a:gd name="connsiteY4" fmla="*/ 0 h 88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06" h="88124">
                  <a:moveTo>
                    <a:pt x="171227" y="0"/>
                  </a:moveTo>
                  <a:cubicBezTo>
                    <a:pt x="171227" y="0"/>
                    <a:pt x="90207" y="32153"/>
                    <a:pt x="0" y="18820"/>
                  </a:cubicBezTo>
                  <a:cubicBezTo>
                    <a:pt x="7719" y="40829"/>
                    <a:pt x="63795" y="94353"/>
                    <a:pt x="101818" y="87527"/>
                  </a:cubicBezTo>
                  <a:cubicBezTo>
                    <a:pt x="136267" y="81339"/>
                    <a:pt x="173906" y="6698"/>
                    <a:pt x="173906" y="6698"/>
                  </a:cubicBezTo>
                  <a:lnTo>
                    <a:pt x="171227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77C8660-C6EB-4B00-A6F6-8278C38590AC}"/>
                </a:ext>
              </a:extLst>
            </p:cNvPr>
            <p:cNvSpPr/>
            <p:nvPr/>
          </p:nvSpPr>
          <p:spPr>
            <a:xfrm>
              <a:off x="10162441" y="2814876"/>
              <a:ext cx="156043" cy="46266"/>
            </a:xfrm>
            <a:custGeom>
              <a:avLst/>
              <a:gdLst>
                <a:gd name="connsiteX0" fmla="*/ 156044 w 156043"/>
                <a:gd name="connsiteY0" fmla="*/ 0 h 46266"/>
                <a:gd name="connsiteX1" fmla="*/ 73301 w 156043"/>
                <a:gd name="connsiteY1" fmla="*/ 21818 h 46266"/>
                <a:gd name="connsiteX2" fmla="*/ 0 w 156043"/>
                <a:gd name="connsiteY2" fmla="*/ 17671 h 46266"/>
                <a:gd name="connsiteX3" fmla="*/ 79744 w 156043"/>
                <a:gd name="connsiteY3" fmla="*/ 46124 h 46266"/>
                <a:gd name="connsiteX4" fmla="*/ 156044 w 156043"/>
                <a:gd name="connsiteY4" fmla="*/ 0 h 4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043" h="46266">
                  <a:moveTo>
                    <a:pt x="156044" y="0"/>
                  </a:moveTo>
                  <a:cubicBezTo>
                    <a:pt x="156044" y="0"/>
                    <a:pt x="110494" y="18564"/>
                    <a:pt x="73301" y="21818"/>
                  </a:cubicBezTo>
                  <a:cubicBezTo>
                    <a:pt x="50654" y="23732"/>
                    <a:pt x="0" y="17671"/>
                    <a:pt x="0" y="17671"/>
                  </a:cubicBezTo>
                  <a:cubicBezTo>
                    <a:pt x="0" y="17671"/>
                    <a:pt x="43317" y="48612"/>
                    <a:pt x="79744" y="46124"/>
                  </a:cubicBezTo>
                  <a:cubicBezTo>
                    <a:pt x="119425" y="43445"/>
                    <a:pt x="156044" y="0"/>
                    <a:pt x="156044" y="0"/>
                  </a:cubicBezTo>
                  <a:close/>
                </a:path>
              </a:pathLst>
            </a:custGeom>
            <a:solidFill>
              <a:srgbClr val="FAF3EE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5107BBD8-6F22-48FA-A4EA-2729B509920F}"/>
                </a:ext>
              </a:extLst>
            </p:cNvPr>
            <p:cNvSpPr/>
            <p:nvPr/>
          </p:nvSpPr>
          <p:spPr>
            <a:xfrm>
              <a:off x="10319122" y="2802498"/>
              <a:ext cx="10336" cy="14929"/>
            </a:xfrm>
            <a:custGeom>
              <a:avLst/>
              <a:gdLst>
                <a:gd name="connsiteX0" fmla="*/ 9059 w 10336"/>
                <a:gd name="connsiteY0" fmla="*/ 14929 h 14929"/>
                <a:gd name="connsiteX1" fmla="*/ 9250 w 10336"/>
                <a:gd name="connsiteY1" fmla="*/ 4020 h 14929"/>
                <a:gd name="connsiteX2" fmla="*/ 0 w 10336"/>
                <a:gd name="connsiteY2" fmla="*/ 1 h 14929"/>
                <a:gd name="connsiteX3" fmla="*/ 9059 w 10336"/>
                <a:gd name="connsiteY3" fmla="*/ 14929 h 1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36" h="14929">
                  <a:moveTo>
                    <a:pt x="9059" y="14929"/>
                  </a:moveTo>
                  <a:cubicBezTo>
                    <a:pt x="9059" y="14929"/>
                    <a:pt x="11802" y="8103"/>
                    <a:pt x="9250" y="4020"/>
                  </a:cubicBezTo>
                  <a:cubicBezTo>
                    <a:pt x="6698" y="-190"/>
                    <a:pt x="0" y="1"/>
                    <a:pt x="0" y="1"/>
                  </a:cubicBezTo>
                  <a:lnTo>
                    <a:pt x="9059" y="1492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26AF080E-C305-42DB-ACD8-BDD10E874791}"/>
                </a:ext>
              </a:extLst>
            </p:cNvPr>
            <p:cNvSpPr/>
            <p:nvPr/>
          </p:nvSpPr>
          <p:spPr>
            <a:xfrm>
              <a:off x="10150462" y="2822017"/>
              <a:ext cx="12488" cy="12953"/>
            </a:xfrm>
            <a:custGeom>
              <a:avLst/>
              <a:gdLst>
                <a:gd name="connsiteX0" fmla="*/ 12489 w 12488"/>
                <a:gd name="connsiteY0" fmla="*/ 67 h 12953"/>
                <a:gd name="connsiteX1" fmla="*/ 1899 w 12488"/>
                <a:gd name="connsiteY1" fmla="*/ 2938 h 12953"/>
                <a:gd name="connsiteX2" fmla="*/ 559 w 12488"/>
                <a:gd name="connsiteY2" fmla="*/ 12954 h 12953"/>
                <a:gd name="connsiteX3" fmla="*/ 12489 w 12488"/>
                <a:gd name="connsiteY3" fmla="*/ 67 h 1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88" h="12953">
                  <a:moveTo>
                    <a:pt x="12489" y="67"/>
                  </a:moveTo>
                  <a:cubicBezTo>
                    <a:pt x="12489" y="67"/>
                    <a:pt x="5216" y="-698"/>
                    <a:pt x="1899" y="2938"/>
                  </a:cubicBezTo>
                  <a:cubicBezTo>
                    <a:pt x="-1355" y="6574"/>
                    <a:pt x="559" y="12954"/>
                    <a:pt x="559" y="12954"/>
                  </a:cubicBezTo>
                  <a:lnTo>
                    <a:pt x="12489" y="6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E1A47DA6-F7F4-4562-AE6E-B39375DC9F4C}"/>
                </a:ext>
              </a:extLst>
            </p:cNvPr>
            <p:cNvSpPr/>
            <p:nvPr/>
          </p:nvSpPr>
          <p:spPr>
            <a:xfrm>
              <a:off x="10250733" y="3018957"/>
              <a:ext cx="103667" cy="110365"/>
            </a:xfrm>
            <a:custGeom>
              <a:avLst/>
              <a:gdLst>
                <a:gd name="connsiteX0" fmla="*/ 103667 w 103667"/>
                <a:gd name="connsiteY0" fmla="*/ 52567 h 110365"/>
                <a:gd name="connsiteX1" fmla="*/ 62073 w 103667"/>
                <a:gd name="connsiteY1" fmla="*/ 0 h 110365"/>
                <a:gd name="connsiteX2" fmla="*/ 0 w 103667"/>
                <a:gd name="connsiteY2" fmla="*/ 41658 h 110365"/>
                <a:gd name="connsiteX3" fmla="*/ 31834 w 103667"/>
                <a:gd name="connsiteY3" fmla="*/ 110366 h 11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667" h="110365">
                  <a:moveTo>
                    <a:pt x="103667" y="52567"/>
                  </a:moveTo>
                  <a:lnTo>
                    <a:pt x="62073" y="0"/>
                  </a:lnTo>
                  <a:lnTo>
                    <a:pt x="0" y="41658"/>
                  </a:lnTo>
                  <a:lnTo>
                    <a:pt x="31834" y="110366"/>
                  </a:lnTo>
                  <a:close/>
                </a:path>
              </a:pathLst>
            </a:custGeom>
            <a:solidFill>
              <a:srgbClr val="F5F5F5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0CB7D90D-EBA0-4E98-8938-572169C4288F}"/>
                </a:ext>
              </a:extLst>
            </p:cNvPr>
            <p:cNvSpPr/>
            <p:nvPr/>
          </p:nvSpPr>
          <p:spPr>
            <a:xfrm>
              <a:off x="10157337" y="3018957"/>
              <a:ext cx="93396" cy="104241"/>
            </a:xfrm>
            <a:custGeom>
              <a:avLst/>
              <a:gdLst>
                <a:gd name="connsiteX0" fmla="*/ 93396 w 93396"/>
                <a:gd name="connsiteY0" fmla="*/ 41658 h 104241"/>
                <a:gd name="connsiteX1" fmla="*/ 34194 w 93396"/>
                <a:gd name="connsiteY1" fmla="*/ 0 h 104241"/>
                <a:gd name="connsiteX2" fmla="*/ 0 w 93396"/>
                <a:gd name="connsiteY2" fmla="*/ 44338 h 104241"/>
                <a:gd name="connsiteX3" fmla="*/ 56969 w 93396"/>
                <a:gd name="connsiteY3" fmla="*/ 104242 h 104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396" h="104241">
                  <a:moveTo>
                    <a:pt x="93396" y="41658"/>
                  </a:moveTo>
                  <a:lnTo>
                    <a:pt x="34194" y="0"/>
                  </a:lnTo>
                  <a:lnTo>
                    <a:pt x="0" y="44338"/>
                  </a:lnTo>
                  <a:lnTo>
                    <a:pt x="56969" y="104242"/>
                  </a:lnTo>
                  <a:close/>
                </a:path>
              </a:pathLst>
            </a:custGeom>
            <a:solidFill>
              <a:srgbClr val="F5F5F5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44B2354-4958-44B7-8DD3-625BBC433C9B}"/>
                </a:ext>
              </a:extLst>
            </p:cNvPr>
            <p:cNvSpPr/>
            <p:nvPr/>
          </p:nvSpPr>
          <p:spPr>
            <a:xfrm>
              <a:off x="10009336" y="2587573"/>
              <a:ext cx="191509" cy="99983"/>
            </a:xfrm>
            <a:custGeom>
              <a:avLst/>
              <a:gdLst>
                <a:gd name="connsiteX0" fmla="*/ 251 w 191509"/>
                <a:gd name="connsiteY0" fmla="*/ 0 h 99983"/>
                <a:gd name="connsiteX1" fmla="*/ 96710 w 191509"/>
                <a:gd name="connsiteY1" fmla="*/ 12695 h 99983"/>
                <a:gd name="connsiteX2" fmla="*/ 191510 w 191509"/>
                <a:gd name="connsiteY2" fmla="*/ 6571 h 99983"/>
                <a:gd name="connsiteX3" fmla="*/ 182196 w 191509"/>
                <a:gd name="connsiteY3" fmla="*/ 90015 h 99983"/>
                <a:gd name="connsiteX4" fmla="*/ 2675 w 191509"/>
                <a:gd name="connsiteY4" fmla="*/ 79234 h 99983"/>
                <a:gd name="connsiteX5" fmla="*/ 251 w 191509"/>
                <a:gd name="connsiteY5" fmla="*/ 0 h 99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509" h="99983">
                  <a:moveTo>
                    <a:pt x="251" y="0"/>
                  </a:moveTo>
                  <a:cubicBezTo>
                    <a:pt x="251" y="0"/>
                    <a:pt x="56965" y="9697"/>
                    <a:pt x="96710" y="12695"/>
                  </a:cubicBezTo>
                  <a:cubicBezTo>
                    <a:pt x="136454" y="15694"/>
                    <a:pt x="191510" y="6571"/>
                    <a:pt x="191510" y="6571"/>
                  </a:cubicBezTo>
                  <a:lnTo>
                    <a:pt x="182196" y="90015"/>
                  </a:lnTo>
                  <a:cubicBezTo>
                    <a:pt x="182196" y="90015"/>
                    <a:pt x="109086" y="118468"/>
                    <a:pt x="2675" y="79234"/>
                  </a:cubicBezTo>
                  <a:cubicBezTo>
                    <a:pt x="-1152" y="22647"/>
                    <a:pt x="251" y="0"/>
                    <a:pt x="251" y="0"/>
                  </a:cubicBez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294EF839-2600-4CCB-A82D-0C2689DBB168}"/>
                </a:ext>
              </a:extLst>
            </p:cNvPr>
            <p:cNvSpPr/>
            <p:nvPr/>
          </p:nvSpPr>
          <p:spPr>
            <a:xfrm>
              <a:off x="10266865" y="2598035"/>
              <a:ext cx="198921" cy="93181"/>
            </a:xfrm>
            <a:custGeom>
              <a:avLst/>
              <a:gdLst>
                <a:gd name="connsiteX0" fmla="*/ 8 w 198921"/>
                <a:gd name="connsiteY0" fmla="*/ 0 h 93181"/>
                <a:gd name="connsiteX1" fmla="*/ 198922 w 198921"/>
                <a:gd name="connsiteY1" fmla="*/ 5869 h 93181"/>
                <a:gd name="connsiteX2" fmla="*/ 184441 w 198921"/>
                <a:gd name="connsiteY2" fmla="*/ 76363 h 93181"/>
                <a:gd name="connsiteX3" fmla="*/ 2113 w 198921"/>
                <a:gd name="connsiteY3" fmla="*/ 79489 h 93181"/>
                <a:gd name="connsiteX4" fmla="*/ 8 w 198921"/>
                <a:gd name="connsiteY4" fmla="*/ 0 h 9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921" h="93181">
                  <a:moveTo>
                    <a:pt x="8" y="0"/>
                  </a:moveTo>
                  <a:cubicBezTo>
                    <a:pt x="8" y="0"/>
                    <a:pt x="131044" y="23987"/>
                    <a:pt x="198922" y="5869"/>
                  </a:cubicBezTo>
                  <a:cubicBezTo>
                    <a:pt x="191968" y="40446"/>
                    <a:pt x="184441" y="76363"/>
                    <a:pt x="184441" y="76363"/>
                  </a:cubicBezTo>
                  <a:cubicBezTo>
                    <a:pt x="184441" y="76363"/>
                    <a:pt x="107631" y="112025"/>
                    <a:pt x="2113" y="79489"/>
                  </a:cubicBezTo>
                  <a:cubicBezTo>
                    <a:pt x="-247" y="3917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grpSp>
          <p:nvGrpSpPr>
            <p:cNvPr id="141" name="Graphic 4">
              <a:extLst>
                <a:ext uri="{FF2B5EF4-FFF2-40B4-BE49-F238E27FC236}">
                  <a16:creationId xmlns:a16="http://schemas.microsoft.com/office/drawing/2014/main" id="{AFD18820-7407-4C6B-B2A1-8CC630739C15}"/>
                </a:ext>
              </a:extLst>
            </p:cNvPr>
            <p:cNvGrpSpPr/>
            <p:nvPr/>
          </p:nvGrpSpPr>
          <p:grpSpPr>
            <a:xfrm>
              <a:off x="9978296" y="2502597"/>
              <a:ext cx="524144" cy="195086"/>
              <a:chOff x="18498331" y="981076"/>
              <a:chExt cx="524144" cy="195086"/>
            </a:xfrm>
            <a:solidFill>
              <a:schemeClr val="tx1"/>
            </a:solidFill>
          </p:grpSpPr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7ACC54D2-A826-454F-A0A8-FE316263A213}"/>
                  </a:ext>
                </a:extLst>
              </p:cNvPr>
              <p:cNvSpPr/>
              <p:nvPr/>
            </p:nvSpPr>
            <p:spPr>
              <a:xfrm>
                <a:off x="18781128" y="988413"/>
                <a:ext cx="216560" cy="187749"/>
              </a:xfrm>
              <a:custGeom>
                <a:avLst/>
                <a:gdLst>
                  <a:gd name="connsiteX0" fmla="*/ 100006 w 216560"/>
                  <a:gd name="connsiteY0" fmla="*/ 187750 h 187749"/>
                  <a:gd name="connsiteX1" fmla="*/ 100006 w 216560"/>
                  <a:gd name="connsiteY1" fmla="*/ 187750 h 187749"/>
                  <a:gd name="connsiteX2" fmla="*/ 6163 w 216560"/>
                  <a:gd name="connsiteY2" fmla="*/ 172566 h 187749"/>
                  <a:gd name="connsiteX3" fmla="*/ 2910 w 216560"/>
                  <a:gd name="connsiteY3" fmla="*/ 171546 h 187749"/>
                  <a:gd name="connsiteX4" fmla="*/ 2527 w 216560"/>
                  <a:gd name="connsiteY4" fmla="*/ 168165 h 187749"/>
                  <a:gd name="connsiteX5" fmla="*/ 2463 w 216560"/>
                  <a:gd name="connsiteY5" fmla="*/ 13971 h 187749"/>
                  <a:gd name="connsiteX6" fmla="*/ 2655 w 216560"/>
                  <a:gd name="connsiteY6" fmla="*/ 10590 h 187749"/>
                  <a:gd name="connsiteX7" fmla="*/ 5844 w 216560"/>
                  <a:gd name="connsiteY7" fmla="*/ 9378 h 187749"/>
                  <a:gd name="connsiteX8" fmla="*/ 65557 w 216560"/>
                  <a:gd name="connsiteY8" fmla="*/ 0 h 187749"/>
                  <a:gd name="connsiteX9" fmla="*/ 212797 w 216560"/>
                  <a:gd name="connsiteY9" fmla="*/ 29537 h 187749"/>
                  <a:gd name="connsiteX10" fmla="*/ 216561 w 216560"/>
                  <a:gd name="connsiteY10" fmla="*/ 31005 h 187749"/>
                  <a:gd name="connsiteX11" fmla="*/ 216114 w 216560"/>
                  <a:gd name="connsiteY11" fmla="*/ 35024 h 187749"/>
                  <a:gd name="connsiteX12" fmla="*/ 195061 w 216560"/>
                  <a:gd name="connsiteY12" fmla="*/ 165804 h 187749"/>
                  <a:gd name="connsiteX13" fmla="*/ 194487 w 216560"/>
                  <a:gd name="connsiteY13" fmla="*/ 167909 h 187749"/>
                  <a:gd name="connsiteX14" fmla="*/ 192637 w 216560"/>
                  <a:gd name="connsiteY14" fmla="*/ 168994 h 187749"/>
                  <a:gd name="connsiteX15" fmla="*/ 100006 w 216560"/>
                  <a:gd name="connsiteY15" fmla="*/ 187750 h 187749"/>
                  <a:gd name="connsiteX16" fmla="*/ 12607 w 216560"/>
                  <a:gd name="connsiteY16" fmla="*/ 163635 h 187749"/>
                  <a:gd name="connsiteX17" fmla="*/ 100006 w 216560"/>
                  <a:gd name="connsiteY17" fmla="*/ 177287 h 187749"/>
                  <a:gd name="connsiteX18" fmla="*/ 185620 w 216560"/>
                  <a:gd name="connsiteY18" fmla="*/ 160892 h 187749"/>
                  <a:gd name="connsiteX19" fmla="*/ 205333 w 216560"/>
                  <a:gd name="connsiteY19" fmla="*/ 37894 h 187749"/>
                  <a:gd name="connsiteX20" fmla="*/ 65621 w 216560"/>
                  <a:gd name="connsiteY20" fmla="*/ 10462 h 187749"/>
                  <a:gd name="connsiteX21" fmla="*/ 12734 w 216560"/>
                  <a:gd name="connsiteY21" fmla="*/ 18054 h 187749"/>
                  <a:gd name="connsiteX22" fmla="*/ 12607 w 216560"/>
                  <a:gd name="connsiteY22" fmla="*/ 163635 h 187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6560" h="187749">
                    <a:moveTo>
                      <a:pt x="100006" y="187750"/>
                    </a:moveTo>
                    <a:lnTo>
                      <a:pt x="100006" y="187750"/>
                    </a:lnTo>
                    <a:cubicBezTo>
                      <a:pt x="69449" y="187750"/>
                      <a:pt x="37806" y="182646"/>
                      <a:pt x="6163" y="172566"/>
                    </a:cubicBezTo>
                    <a:lnTo>
                      <a:pt x="2910" y="171546"/>
                    </a:lnTo>
                    <a:lnTo>
                      <a:pt x="2527" y="168165"/>
                    </a:lnTo>
                    <a:cubicBezTo>
                      <a:pt x="-3023" y="119616"/>
                      <a:pt x="2272" y="18245"/>
                      <a:pt x="2463" y="13971"/>
                    </a:cubicBezTo>
                    <a:lnTo>
                      <a:pt x="2655" y="10590"/>
                    </a:lnTo>
                    <a:lnTo>
                      <a:pt x="5844" y="9378"/>
                    </a:lnTo>
                    <a:cubicBezTo>
                      <a:pt x="22431" y="3190"/>
                      <a:pt x="42527" y="0"/>
                      <a:pt x="65557" y="0"/>
                    </a:cubicBezTo>
                    <a:cubicBezTo>
                      <a:pt x="135477" y="0"/>
                      <a:pt x="209671" y="28325"/>
                      <a:pt x="212797" y="29537"/>
                    </a:cubicBezTo>
                    <a:lnTo>
                      <a:pt x="216561" y="31005"/>
                    </a:lnTo>
                    <a:lnTo>
                      <a:pt x="216114" y="35024"/>
                    </a:lnTo>
                    <a:cubicBezTo>
                      <a:pt x="215731" y="38469"/>
                      <a:pt x="206800" y="120318"/>
                      <a:pt x="195061" y="165804"/>
                    </a:cubicBezTo>
                    <a:lnTo>
                      <a:pt x="194487" y="167909"/>
                    </a:lnTo>
                    <a:lnTo>
                      <a:pt x="192637" y="168994"/>
                    </a:lnTo>
                    <a:cubicBezTo>
                      <a:pt x="184535" y="173842"/>
                      <a:pt x="149767" y="187750"/>
                      <a:pt x="100006" y="187750"/>
                    </a:cubicBezTo>
                    <a:close/>
                    <a:moveTo>
                      <a:pt x="12607" y="163635"/>
                    </a:moveTo>
                    <a:cubicBezTo>
                      <a:pt x="42144" y="172694"/>
                      <a:pt x="71554" y="177287"/>
                      <a:pt x="100006" y="177287"/>
                    </a:cubicBezTo>
                    <a:cubicBezTo>
                      <a:pt x="148044" y="177287"/>
                      <a:pt x="178156" y="164464"/>
                      <a:pt x="185620" y="160892"/>
                    </a:cubicBezTo>
                    <a:cubicBezTo>
                      <a:pt x="195444" y="121466"/>
                      <a:pt x="203419" y="54928"/>
                      <a:pt x="205333" y="37894"/>
                    </a:cubicBezTo>
                    <a:cubicBezTo>
                      <a:pt x="189256" y="32153"/>
                      <a:pt x="124823" y="10462"/>
                      <a:pt x="65621" y="10462"/>
                    </a:cubicBezTo>
                    <a:cubicBezTo>
                      <a:pt x="45334" y="10462"/>
                      <a:pt x="27598" y="13014"/>
                      <a:pt x="12734" y="18054"/>
                    </a:cubicBezTo>
                    <a:cubicBezTo>
                      <a:pt x="11969" y="36044"/>
                      <a:pt x="8333" y="119808"/>
                      <a:pt x="12607" y="163635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9D554262-0B93-45B9-B41E-E4581F8F7995}"/>
                  </a:ext>
                </a:extLst>
              </p:cNvPr>
              <p:cNvSpPr/>
              <p:nvPr/>
            </p:nvSpPr>
            <p:spPr>
              <a:xfrm>
                <a:off x="18522845" y="981076"/>
                <a:ext cx="206519" cy="189536"/>
              </a:xfrm>
              <a:custGeom>
                <a:avLst/>
                <a:gdLst>
                  <a:gd name="connsiteX0" fmla="*/ 120460 w 206519"/>
                  <a:gd name="connsiteY0" fmla="*/ 189536 h 189536"/>
                  <a:gd name="connsiteX1" fmla="*/ 5756 w 206519"/>
                  <a:gd name="connsiteY1" fmla="*/ 168165 h 189536"/>
                  <a:gd name="connsiteX2" fmla="*/ 4225 w 206519"/>
                  <a:gd name="connsiteY2" fmla="*/ 166889 h 189536"/>
                  <a:gd name="connsiteX3" fmla="*/ 3970 w 206519"/>
                  <a:gd name="connsiteY3" fmla="*/ 164911 h 189536"/>
                  <a:gd name="connsiteX4" fmla="*/ 3970 w 206519"/>
                  <a:gd name="connsiteY4" fmla="*/ 23668 h 189536"/>
                  <a:gd name="connsiteX5" fmla="*/ 4352 w 206519"/>
                  <a:gd name="connsiteY5" fmla="*/ 20478 h 189536"/>
                  <a:gd name="connsiteX6" fmla="*/ 7415 w 206519"/>
                  <a:gd name="connsiteY6" fmla="*/ 19394 h 189536"/>
                  <a:gd name="connsiteX7" fmla="*/ 123267 w 206519"/>
                  <a:gd name="connsiteY7" fmla="*/ 0 h 189536"/>
                  <a:gd name="connsiteX8" fmla="*/ 203202 w 206519"/>
                  <a:gd name="connsiteY8" fmla="*/ 14290 h 189536"/>
                  <a:gd name="connsiteX9" fmla="*/ 206520 w 206519"/>
                  <a:gd name="connsiteY9" fmla="*/ 15694 h 189536"/>
                  <a:gd name="connsiteX10" fmla="*/ 206392 w 206519"/>
                  <a:gd name="connsiteY10" fmla="*/ 19266 h 189536"/>
                  <a:gd name="connsiteX11" fmla="*/ 193059 w 206519"/>
                  <a:gd name="connsiteY11" fmla="*/ 177861 h 189536"/>
                  <a:gd name="connsiteX12" fmla="*/ 192293 w 206519"/>
                  <a:gd name="connsiteY12" fmla="*/ 179074 h 189536"/>
                  <a:gd name="connsiteX13" fmla="*/ 190954 w 206519"/>
                  <a:gd name="connsiteY13" fmla="*/ 179712 h 189536"/>
                  <a:gd name="connsiteX14" fmla="*/ 120460 w 206519"/>
                  <a:gd name="connsiteY14" fmla="*/ 189536 h 189536"/>
                  <a:gd name="connsiteX15" fmla="*/ 14113 w 206519"/>
                  <a:gd name="connsiteY15" fmla="*/ 161402 h 189536"/>
                  <a:gd name="connsiteX16" fmla="*/ 120460 w 206519"/>
                  <a:gd name="connsiteY16" fmla="*/ 179074 h 189536"/>
                  <a:gd name="connsiteX17" fmla="*/ 184829 w 206519"/>
                  <a:gd name="connsiteY17" fmla="*/ 170972 h 189536"/>
                  <a:gd name="connsiteX18" fmla="*/ 195866 w 206519"/>
                  <a:gd name="connsiteY18" fmla="*/ 22520 h 189536"/>
                  <a:gd name="connsiteX19" fmla="*/ 123267 w 206519"/>
                  <a:gd name="connsiteY19" fmla="*/ 10399 h 189536"/>
                  <a:gd name="connsiteX20" fmla="*/ 13985 w 206519"/>
                  <a:gd name="connsiteY20" fmla="*/ 28198 h 189536"/>
                  <a:gd name="connsiteX21" fmla="*/ 14113 w 206519"/>
                  <a:gd name="connsiteY21" fmla="*/ 161402 h 189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519" h="189536">
                    <a:moveTo>
                      <a:pt x="120460" y="189536"/>
                    </a:moveTo>
                    <a:cubicBezTo>
                      <a:pt x="77207" y="189536"/>
                      <a:pt x="22853" y="182838"/>
                      <a:pt x="5756" y="168165"/>
                    </a:cubicBezTo>
                    <a:lnTo>
                      <a:pt x="4225" y="166889"/>
                    </a:lnTo>
                    <a:lnTo>
                      <a:pt x="3970" y="164911"/>
                    </a:lnTo>
                    <a:cubicBezTo>
                      <a:pt x="-4898" y="95693"/>
                      <a:pt x="3842" y="24370"/>
                      <a:pt x="3970" y="23668"/>
                    </a:cubicBezTo>
                    <a:lnTo>
                      <a:pt x="4352" y="20478"/>
                    </a:lnTo>
                    <a:lnTo>
                      <a:pt x="7415" y="19394"/>
                    </a:lnTo>
                    <a:cubicBezTo>
                      <a:pt x="9647" y="18628"/>
                      <a:pt x="62853" y="0"/>
                      <a:pt x="123267" y="0"/>
                    </a:cubicBezTo>
                    <a:cubicBezTo>
                      <a:pt x="153697" y="0"/>
                      <a:pt x="180555" y="4785"/>
                      <a:pt x="203202" y="14290"/>
                    </a:cubicBezTo>
                    <a:lnTo>
                      <a:pt x="206520" y="15694"/>
                    </a:lnTo>
                    <a:lnTo>
                      <a:pt x="206392" y="19266"/>
                    </a:lnTo>
                    <a:cubicBezTo>
                      <a:pt x="205627" y="43445"/>
                      <a:pt x="201480" y="164720"/>
                      <a:pt x="193059" y="177861"/>
                    </a:cubicBezTo>
                    <a:lnTo>
                      <a:pt x="192293" y="179074"/>
                    </a:lnTo>
                    <a:lnTo>
                      <a:pt x="190954" y="179712"/>
                    </a:lnTo>
                    <a:cubicBezTo>
                      <a:pt x="173219" y="188260"/>
                      <a:pt x="139152" y="189536"/>
                      <a:pt x="120460" y="189536"/>
                    </a:cubicBezTo>
                    <a:close/>
                    <a:moveTo>
                      <a:pt x="14113" y="161402"/>
                    </a:moveTo>
                    <a:cubicBezTo>
                      <a:pt x="28403" y="171354"/>
                      <a:pt x="74017" y="179074"/>
                      <a:pt x="120460" y="179074"/>
                    </a:cubicBezTo>
                    <a:cubicBezTo>
                      <a:pt x="149423" y="179074"/>
                      <a:pt x="172644" y="176139"/>
                      <a:pt x="184829" y="170972"/>
                    </a:cubicBezTo>
                    <a:cubicBezTo>
                      <a:pt x="189167" y="158914"/>
                      <a:pt x="193761" y="88229"/>
                      <a:pt x="195866" y="22520"/>
                    </a:cubicBezTo>
                    <a:cubicBezTo>
                      <a:pt x="175196" y="14482"/>
                      <a:pt x="150826" y="10399"/>
                      <a:pt x="123267" y="10399"/>
                    </a:cubicBezTo>
                    <a:cubicBezTo>
                      <a:pt x="72677" y="10399"/>
                      <a:pt x="26170" y="24242"/>
                      <a:pt x="13985" y="28198"/>
                    </a:cubicBezTo>
                    <a:cubicBezTo>
                      <a:pt x="12454" y="42552"/>
                      <a:pt x="6904" y="102519"/>
                      <a:pt x="14113" y="161402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452A89E6-2CB5-4F62-AA00-C37546B9D515}"/>
                  </a:ext>
                </a:extLst>
              </p:cNvPr>
              <p:cNvSpPr/>
              <p:nvPr/>
            </p:nvSpPr>
            <p:spPr>
              <a:xfrm>
                <a:off x="18717946" y="1038541"/>
                <a:ext cx="73045" cy="24831"/>
              </a:xfrm>
              <a:custGeom>
                <a:avLst/>
                <a:gdLst>
                  <a:gd name="connsiteX0" fmla="*/ 7273 w 73045"/>
                  <a:gd name="connsiteY0" fmla="*/ 24831 h 24831"/>
                  <a:gd name="connsiteX1" fmla="*/ 0 w 73045"/>
                  <a:gd name="connsiteY1" fmla="*/ 17303 h 24831"/>
                  <a:gd name="connsiteX2" fmla="*/ 39617 w 73045"/>
                  <a:gd name="connsiteY2" fmla="*/ 79 h 24831"/>
                  <a:gd name="connsiteX3" fmla="*/ 73046 w 73045"/>
                  <a:gd name="connsiteY3" fmla="*/ 17814 h 24831"/>
                  <a:gd name="connsiteX4" fmla="*/ 64880 w 73045"/>
                  <a:gd name="connsiteY4" fmla="*/ 24321 h 24831"/>
                  <a:gd name="connsiteX5" fmla="*/ 38852 w 73045"/>
                  <a:gd name="connsiteY5" fmla="*/ 10477 h 24831"/>
                  <a:gd name="connsiteX6" fmla="*/ 7273 w 73045"/>
                  <a:gd name="connsiteY6" fmla="*/ 24831 h 24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045" h="24831">
                    <a:moveTo>
                      <a:pt x="7273" y="24831"/>
                    </a:moveTo>
                    <a:lnTo>
                      <a:pt x="0" y="17303"/>
                    </a:lnTo>
                    <a:cubicBezTo>
                      <a:pt x="12759" y="4991"/>
                      <a:pt x="26029" y="-751"/>
                      <a:pt x="39617" y="79"/>
                    </a:cubicBezTo>
                    <a:cubicBezTo>
                      <a:pt x="59712" y="1354"/>
                      <a:pt x="72535" y="17112"/>
                      <a:pt x="73046" y="17814"/>
                    </a:cubicBezTo>
                    <a:lnTo>
                      <a:pt x="64880" y="24321"/>
                    </a:lnTo>
                    <a:cubicBezTo>
                      <a:pt x="64816" y="24193"/>
                      <a:pt x="54290" y="11434"/>
                      <a:pt x="38852" y="10477"/>
                    </a:cubicBezTo>
                    <a:cubicBezTo>
                      <a:pt x="28453" y="9648"/>
                      <a:pt x="17735" y="14688"/>
                      <a:pt x="7273" y="24831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56092652-042B-415E-BAD1-3DE8A396F7CB}"/>
                  </a:ext>
                </a:extLst>
              </p:cNvPr>
              <p:cNvSpPr/>
              <p:nvPr/>
            </p:nvSpPr>
            <p:spPr>
              <a:xfrm rot="-5390680">
                <a:off x="18998889" y="1055036"/>
                <a:ext cx="10462" cy="36682"/>
              </a:xfrm>
              <a:custGeom>
                <a:avLst/>
                <a:gdLst>
                  <a:gd name="connsiteX0" fmla="*/ 0 w 10462"/>
                  <a:gd name="connsiteY0" fmla="*/ 0 h 36682"/>
                  <a:gd name="connsiteX1" fmla="*/ 10463 w 10462"/>
                  <a:gd name="connsiteY1" fmla="*/ 0 h 36682"/>
                  <a:gd name="connsiteX2" fmla="*/ 10463 w 10462"/>
                  <a:gd name="connsiteY2" fmla="*/ 36682 h 36682"/>
                  <a:gd name="connsiteX3" fmla="*/ 0 w 10462"/>
                  <a:gd name="connsiteY3" fmla="*/ 36682 h 36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2" h="36682">
                    <a:moveTo>
                      <a:pt x="0" y="0"/>
                    </a:moveTo>
                    <a:lnTo>
                      <a:pt x="10463" y="0"/>
                    </a:lnTo>
                    <a:lnTo>
                      <a:pt x="10463" y="36682"/>
                    </a:lnTo>
                    <a:lnTo>
                      <a:pt x="0" y="36682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40136EDE-1954-42B2-AEED-C21815C1283A}"/>
                  </a:ext>
                </a:extLst>
              </p:cNvPr>
              <p:cNvSpPr/>
              <p:nvPr/>
            </p:nvSpPr>
            <p:spPr>
              <a:xfrm rot="-295668">
                <a:off x="18498723" y="1047689"/>
                <a:ext cx="30940" cy="10462"/>
              </a:xfrm>
              <a:custGeom>
                <a:avLst/>
                <a:gdLst>
                  <a:gd name="connsiteX0" fmla="*/ 0 w 30940"/>
                  <a:gd name="connsiteY0" fmla="*/ 0 h 10462"/>
                  <a:gd name="connsiteX1" fmla="*/ 30940 w 30940"/>
                  <a:gd name="connsiteY1" fmla="*/ 0 h 10462"/>
                  <a:gd name="connsiteX2" fmla="*/ 30940 w 30940"/>
                  <a:gd name="connsiteY2" fmla="*/ 10462 h 10462"/>
                  <a:gd name="connsiteX3" fmla="*/ 0 w 30940"/>
                  <a:gd name="connsiteY3" fmla="*/ 10462 h 10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40" h="10462">
                    <a:moveTo>
                      <a:pt x="0" y="0"/>
                    </a:moveTo>
                    <a:lnTo>
                      <a:pt x="30940" y="0"/>
                    </a:lnTo>
                    <a:lnTo>
                      <a:pt x="30940" y="10462"/>
                    </a:lnTo>
                    <a:lnTo>
                      <a:pt x="0" y="10462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576C5F88-EF78-4739-91E4-FE7EAAD17071}"/>
              </a:ext>
            </a:extLst>
          </p:cNvPr>
          <p:cNvGrpSpPr>
            <a:grpSpLocks/>
          </p:cNvGrpSpPr>
          <p:nvPr/>
        </p:nvGrpSpPr>
        <p:grpSpPr>
          <a:xfrm>
            <a:off x="1916184" y="2074075"/>
            <a:ext cx="804005" cy="820166"/>
            <a:chOff x="2810909" y="1825330"/>
            <a:chExt cx="1356685" cy="1383956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A3B40864-D457-4A01-9EED-6ABCA8B41325}"/>
                </a:ext>
              </a:extLst>
            </p:cNvPr>
            <p:cNvSpPr>
              <a:spLocks/>
            </p:cNvSpPr>
            <p:nvPr/>
          </p:nvSpPr>
          <p:spPr>
            <a:xfrm>
              <a:off x="2810909" y="1825330"/>
              <a:ext cx="1356685" cy="1383955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D0D0D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tr-TR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5EC1D644-1795-43FA-A669-6A91120602AB}"/>
                </a:ext>
              </a:extLst>
            </p:cNvPr>
            <p:cNvSpPr/>
            <p:nvPr/>
          </p:nvSpPr>
          <p:spPr>
            <a:xfrm>
              <a:off x="3236255" y="2508083"/>
              <a:ext cx="541813" cy="321783"/>
            </a:xfrm>
            <a:custGeom>
              <a:avLst/>
              <a:gdLst>
                <a:gd name="connsiteX0" fmla="*/ 0 w 541813"/>
                <a:gd name="connsiteY0" fmla="*/ 0 h 321783"/>
                <a:gd name="connsiteX1" fmla="*/ 541814 w 541813"/>
                <a:gd name="connsiteY1" fmla="*/ 0 h 321783"/>
                <a:gd name="connsiteX2" fmla="*/ 541814 w 541813"/>
                <a:gd name="connsiteY2" fmla="*/ 321784 h 321783"/>
                <a:gd name="connsiteX3" fmla="*/ 0 w 541813"/>
                <a:gd name="connsiteY3" fmla="*/ 321784 h 32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13" h="321783">
                  <a:moveTo>
                    <a:pt x="0" y="0"/>
                  </a:moveTo>
                  <a:lnTo>
                    <a:pt x="541814" y="0"/>
                  </a:lnTo>
                  <a:lnTo>
                    <a:pt x="541814" y="321784"/>
                  </a:lnTo>
                  <a:lnTo>
                    <a:pt x="0" y="32178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3A31A45C-5CD9-48E6-B3EA-58234807E42C}"/>
                </a:ext>
              </a:extLst>
            </p:cNvPr>
            <p:cNvSpPr/>
            <p:nvPr/>
          </p:nvSpPr>
          <p:spPr>
            <a:xfrm>
              <a:off x="3414244" y="2645498"/>
              <a:ext cx="123762" cy="228514"/>
            </a:xfrm>
            <a:custGeom>
              <a:avLst/>
              <a:gdLst>
                <a:gd name="connsiteX0" fmla="*/ 0 w 123762"/>
                <a:gd name="connsiteY0" fmla="*/ 0 h 228514"/>
                <a:gd name="connsiteX1" fmla="*/ 123763 w 123762"/>
                <a:gd name="connsiteY1" fmla="*/ 0 h 228514"/>
                <a:gd name="connsiteX2" fmla="*/ 123763 w 123762"/>
                <a:gd name="connsiteY2" fmla="*/ 228515 h 228514"/>
                <a:gd name="connsiteX3" fmla="*/ 0 w 123762"/>
                <a:gd name="connsiteY3" fmla="*/ 228515 h 22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762" h="228514">
                  <a:moveTo>
                    <a:pt x="0" y="0"/>
                  </a:moveTo>
                  <a:lnTo>
                    <a:pt x="123763" y="0"/>
                  </a:lnTo>
                  <a:lnTo>
                    <a:pt x="123763" y="228515"/>
                  </a:lnTo>
                  <a:lnTo>
                    <a:pt x="0" y="228515"/>
                  </a:ln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DACEE5E7-2616-4082-B80E-531943B2B204}"/>
                </a:ext>
              </a:extLst>
            </p:cNvPr>
            <p:cNvSpPr/>
            <p:nvPr/>
          </p:nvSpPr>
          <p:spPr>
            <a:xfrm>
              <a:off x="3206688" y="2069171"/>
              <a:ext cx="542041" cy="603440"/>
            </a:xfrm>
            <a:custGeom>
              <a:avLst/>
              <a:gdLst>
                <a:gd name="connsiteX0" fmla="*/ 522195 w 542041"/>
                <a:gd name="connsiteY0" fmla="*/ 167208 h 603440"/>
                <a:gd name="connsiteX1" fmla="*/ 538654 w 542041"/>
                <a:gd name="connsiteY1" fmla="*/ 420220 h 603440"/>
                <a:gd name="connsiteX2" fmla="*/ 264016 w 542041"/>
                <a:gd name="connsiteY2" fmla="*/ 603440 h 603440"/>
                <a:gd name="connsiteX3" fmla="*/ 860 w 542041"/>
                <a:gd name="connsiteY3" fmla="*/ 398210 h 603440"/>
                <a:gd name="connsiteX4" fmla="*/ 42008 w 542041"/>
                <a:gd name="connsiteY4" fmla="*/ 98628 h 603440"/>
                <a:gd name="connsiteX5" fmla="*/ 269502 w 542041"/>
                <a:gd name="connsiteY5" fmla="*/ 0 h 603440"/>
                <a:gd name="connsiteX6" fmla="*/ 522195 w 542041"/>
                <a:gd name="connsiteY6" fmla="*/ 167208 h 60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2041" h="603440">
                  <a:moveTo>
                    <a:pt x="522195" y="167208"/>
                  </a:moveTo>
                  <a:cubicBezTo>
                    <a:pt x="522195" y="167208"/>
                    <a:pt x="551860" y="384048"/>
                    <a:pt x="538654" y="420220"/>
                  </a:cubicBezTo>
                  <a:cubicBezTo>
                    <a:pt x="525513" y="456392"/>
                    <a:pt x="372532" y="603440"/>
                    <a:pt x="264016" y="603440"/>
                  </a:cubicBezTo>
                  <a:cubicBezTo>
                    <a:pt x="155500" y="603440"/>
                    <a:pt x="5836" y="449757"/>
                    <a:pt x="860" y="398210"/>
                  </a:cubicBezTo>
                  <a:cubicBezTo>
                    <a:pt x="-4053" y="346664"/>
                    <a:pt x="12407" y="152917"/>
                    <a:pt x="42008" y="98628"/>
                  </a:cubicBezTo>
                  <a:cubicBezTo>
                    <a:pt x="71609" y="44338"/>
                    <a:pt x="196137" y="0"/>
                    <a:pt x="269502" y="0"/>
                  </a:cubicBezTo>
                  <a:cubicBezTo>
                    <a:pt x="342930" y="0"/>
                    <a:pt x="499165" y="64752"/>
                    <a:pt x="522195" y="167208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1E64868C-2CE1-4FB0-963B-0A90B765C4A2}"/>
                </a:ext>
              </a:extLst>
            </p:cNvPr>
            <p:cNvSpPr/>
            <p:nvPr/>
          </p:nvSpPr>
          <p:spPr>
            <a:xfrm>
              <a:off x="3547385" y="2316159"/>
              <a:ext cx="133141" cy="53551"/>
            </a:xfrm>
            <a:custGeom>
              <a:avLst/>
              <a:gdLst>
                <a:gd name="connsiteX0" fmla="*/ 61308 w 133141"/>
                <a:gd name="connsiteY0" fmla="*/ 857 h 53551"/>
                <a:gd name="connsiteX1" fmla="*/ 0 w 133141"/>
                <a:gd name="connsiteY1" fmla="*/ 53552 h 53551"/>
                <a:gd name="connsiteX2" fmla="*/ 133141 w 133141"/>
                <a:gd name="connsiteY2" fmla="*/ 27715 h 53551"/>
                <a:gd name="connsiteX3" fmla="*/ 61308 w 133141"/>
                <a:gd name="connsiteY3" fmla="*/ 857 h 53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141" h="53551">
                  <a:moveTo>
                    <a:pt x="61308" y="857"/>
                  </a:moveTo>
                  <a:cubicBezTo>
                    <a:pt x="14418" y="7428"/>
                    <a:pt x="0" y="53552"/>
                    <a:pt x="0" y="53552"/>
                  </a:cubicBezTo>
                  <a:lnTo>
                    <a:pt x="133141" y="27715"/>
                  </a:lnTo>
                  <a:cubicBezTo>
                    <a:pt x="133141" y="27651"/>
                    <a:pt x="108197" y="-5714"/>
                    <a:pt x="61308" y="857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70AE99A8-FC26-46DC-AF4B-CB9C732C3A13}"/>
                </a:ext>
              </a:extLst>
            </p:cNvPr>
            <p:cNvSpPr/>
            <p:nvPr/>
          </p:nvSpPr>
          <p:spPr>
            <a:xfrm>
              <a:off x="3272363" y="2307489"/>
              <a:ext cx="142774" cy="68027"/>
            </a:xfrm>
            <a:custGeom>
              <a:avLst/>
              <a:gdLst>
                <a:gd name="connsiteX0" fmla="*/ 92120 w 142774"/>
                <a:gd name="connsiteY0" fmla="*/ 1297 h 68027"/>
                <a:gd name="connsiteX1" fmla="*/ 0 w 142774"/>
                <a:gd name="connsiteY1" fmla="*/ 26688 h 68027"/>
                <a:gd name="connsiteX2" fmla="*/ 142774 w 142774"/>
                <a:gd name="connsiteY2" fmla="*/ 68027 h 68027"/>
                <a:gd name="connsiteX3" fmla="*/ 92120 w 142774"/>
                <a:gd name="connsiteY3" fmla="*/ 1297 h 68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774" h="68027">
                  <a:moveTo>
                    <a:pt x="92120" y="1297"/>
                  </a:moveTo>
                  <a:cubicBezTo>
                    <a:pt x="51036" y="-6932"/>
                    <a:pt x="0" y="26688"/>
                    <a:pt x="0" y="26688"/>
                  </a:cubicBezTo>
                  <a:lnTo>
                    <a:pt x="142774" y="68027"/>
                  </a:lnTo>
                  <a:cubicBezTo>
                    <a:pt x="142838" y="67963"/>
                    <a:pt x="133269" y="9527"/>
                    <a:pt x="92120" y="1297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8C18B997-6E23-499F-96E9-90F2F563B21F}"/>
                </a:ext>
              </a:extLst>
            </p:cNvPr>
            <p:cNvSpPr/>
            <p:nvPr/>
          </p:nvSpPr>
          <p:spPr>
            <a:xfrm>
              <a:off x="3250808" y="2420370"/>
              <a:ext cx="164384" cy="58203"/>
            </a:xfrm>
            <a:custGeom>
              <a:avLst/>
              <a:gdLst>
                <a:gd name="connsiteX0" fmla="*/ 164329 w 164384"/>
                <a:gd name="connsiteY0" fmla="*/ 38080 h 58203"/>
                <a:gd name="connsiteX1" fmla="*/ 79162 w 164384"/>
                <a:gd name="connsiteY1" fmla="*/ 56772 h 58203"/>
                <a:gd name="connsiteX2" fmla="*/ 56 w 164384"/>
                <a:gd name="connsiteY2" fmla="*/ 20154 h 58203"/>
                <a:gd name="connsiteX3" fmla="*/ 85223 w 164384"/>
                <a:gd name="connsiteY3" fmla="*/ 1462 h 58203"/>
                <a:gd name="connsiteX4" fmla="*/ 164329 w 164384"/>
                <a:gd name="connsiteY4" fmla="*/ 38080 h 58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84" h="58203">
                  <a:moveTo>
                    <a:pt x="164329" y="38080"/>
                  </a:moveTo>
                  <a:cubicBezTo>
                    <a:pt x="162670" y="53327"/>
                    <a:pt x="124521" y="61748"/>
                    <a:pt x="79162" y="56772"/>
                  </a:cubicBezTo>
                  <a:cubicBezTo>
                    <a:pt x="33804" y="51796"/>
                    <a:pt x="-1603" y="35401"/>
                    <a:pt x="56" y="20154"/>
                  </a:cubicBezTo>
                  <a:cubicBezTo>
                    <a:pt x="1715" y="4843"/>
                    <a:pt x="39864" y="-3578"/>
                    <a:pt x="85223" y="1462"/>
                  </a:cubicBezTo>
                  <a:cubicBezTo>
                    <a:pt x="130581" y="6374"/>
                    <a:pt x="165988" y="22769"/>
                    <a:pt x="164329" y="38080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0BD0440C-6627-4817-A3C7-96A16078A3BD}"/>
                </a:ext>
              </a:extLst>
            </p:cNvPr>
            <p:cNvSpPr/>
            <p:nvPr/>
          </p:nvSpPr>
          <p:spPr>
            <a:xfrm>
              <a:off x="3544235" y="2427889"/>
              <a:ext cx="164894" cy="56716"/>
            </a:xfrm>
            <a:custGeom>
              <a:avLst/>
              <a:gdLst>
                <a:gd name="connsiteX0" fmla="*/ 164871 w 164894"/>
                <a:gd name="connsiteY0" fmla="*/ 22714 h 56716"/>
                <a:gd name="connsiteX1" fmla="*/ 84361 w 164894"/>
                <a:gd name="connsiteY1" fmla="*/ 56143 h 56716"/>
                <a:gd name="connsiteX2" fmla="*/ 24 w 164894"/>
                <a:gd name="connsiteY2" fmla="*/ 34006 h 56716"/>
                <a:gd name="connsiteX3" fmla="*/ 80533 w 164894"/>
                <a:gd name="connsiteY3" fmla="*/ 577 h 56716"/>
                <a:gd name="connsiteX4" fmla="*/ 164871 w 164894"/>
                <a:gd name="connsiteY4" fmla="*/ 22714 h 5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894" h="56716">
                  <a:moveTo>
                    <a:pt x="164871" y="22714"/>
                  </a:moveTo>
                  <a:cubicBezTo>
                    <a:pt x="165956" y="38025"/>
                    <a:pt x="129848" y="53017"/>
                    <a:pt x="84361" y="56143"/>
                  </a:cubicBezTo>
                  <a:cubicBezTo>
                    <a:pt x="38811" y="59269"/>
                    <a:pt x="1109" y="49316"/>
                    <a:pt x="24" y="34006"/>
                  </a:cubicBezTo>
                  <a:cubicBezTo>
                    <a:pt x="-1061" y="18695"/>
                    <a:pt x="35047" y="3703"/>
                    <a:pt x="80533" y="577"/>
                  </a:cubicBezTo>
                  <a:cubicBezTo>
                    <a:pt x="126083" y="-2549"/>
                    <a:pt x="163850" y="7339"/>
                    <a:pt x="164871" y="22714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0D2E471-BABE-4AD0-B2AE-0FE376F5B633}"/>
                </a:ext>
              </a:extLst>
            </p:cNvPr>
            <p:cNvSpPr/>
            <p:nvPr/>
          </p:nvSpPr>
          <p:spPr>
            <a:xfrm>
              <a:off x="3544203" y="2339996"/>
              <a:ext cx="136670" cy="70989"/>
            </a:xfrm>
            <a:custGeom>
              <a:avLst/>
              <a:gdLst>
                <a:gd name="connsiteX0" fmla="*/ 1077 w 136670"/>
                <a:gd name="connsiteY0" fmla="*/ 70990 h 70989"/>
                <a:gd name="connsiteX1" fmla="*/ 136132 w 136670"/>
                <a:gd name="connsiteY1" fmla="*/ 50703 h 70989"/>
                <a:gd name="connsiteX2" fmla="*/ 136132 w 136670"/>
                <a:gd name="connsiteY2" fmla="*/ 113 h 70989"/>
                <a:gd name="connsiteX3" fmla="*/ 1077 w 136670"/>
                <a:gd name="connsiteY3" fmla="*/ 40815 h 70989"/>
                <a:gd name="connsiteX4" fmla="*/ 1077 w 136670"/>
                <a:gd name="connsiteY4" fmla="*/ 70990 h 70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670" h="70989">
                  <a:moveTo>
                    <a:pt x="1077" y="70990"/>
                  </a:moveTo>
                  <a:cubicBezTo>
                    <a:pt x="1077" y="70990"/>
                    <a:pt x="96643" y="48789"/>
                    <a:pt x="136132" y="50703"/>
                  </a:cubicBezTo>
                  <a:cubicBezTo>
                    <a:pt x="137344" y="17976"/>
                    <a:pt x="136132" y="113"/>
                    <a:pt x="136132" y="113"/>
                  </a:cubicBezTo>
                  <a:cubicBezTo>
                    <a:pt x="136132" y="113"/>
                    <a:pt x="45479" y="-4225"/>
                    <a:pt x="1077" y="40815"/>
                  </a:cubicBezTo>
                  <a:cubicBezTo>
                    <a:pt x="-1347" y="59889"/>
                    <a:pt x="1077" y="70990"/>
                    <a:pt x="1077" y="70990"/>
                  </a:cubicBezTo>
                  <a:close/>
                </a:path>
              </a:pathLst>
            </a:custGeom>
            <a:solidFill>
              <a:srgbClr val="FFFDFC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4442AA3-D261-43F9-93C0-88A4813DFCD7}"/>
                </a:ext>
              </a:extLst>
            </p:cNvPr>
            <p:cNvSpPr/>
            <p:nvPr/>
          </p:nvSpPr>
          <p:spPr>
            <a:xfrm>
              <a:off x="3267834" y="2331409"/>
              <a:ext cx="147367" cy="76515"/>
            </a:xfrm>
            <a:custGeom>
              <a:avLst/>
              <a:gdLst>
                <a:gd name="connsiteX0" fmla="*/ 141817 w 147367"/>
                <a:gd name="connsiteY0" fmla="*/ 76516 h 76515"/>
                <a:gd name="connsiteX1" fmla="*/ 142200 w 147367"/>
                <a:gd name="connsiteY1" fmla="*/ 74410 h 76515"/>
                <a:gd name="connsiteX2" fmla="*/ 147367 w 147367"/>
                <a:gd name="connsiteY2" fmla="*/ 44107 h 76515"/>
                <a:gd name="connsiteX3" fmla="*/ 4593 w 147367"/>
                <a:gd name="connsiteY3" fmla="*/ 2768 h 76515"/>
                <a:gd name="connsiteX4" fmla="*/ 0 w 147367"/>
                <a:gd name="connsiteY4" fmla="*/ 51252 h 76515"/>
                <a:gd name="connsiteX5" fmla="*/ 141817 w 147367"/>
                <a:gd name="connsiteY5" fmla="*/ 76516 h 7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67" h="76515">
                  <a:moveTo>
                    <a:pt x="141817" y="76516"/>
                  </a:moveTo>
                  <a:lnTo>
                    <a:pt x="142200" y="74410"/>
                  </a:lnTo>
                  <a:lnTo>
                    <a:pt x="147367" y="44107"/>
                  </a:lnTo>
                  <a:cubicBezTo>
                    <a:pt x="147367" y="44107"/>
                    <a:pt x="87463" y="-13053"/>
                    <a:pt x="4593" y="2768"/>
                  </a:cubicBezTo>
                  <a:cubicBezTo>
                    <a:pt x="0" y="27202"/>
                    <a:pt x="0" y="51252"/>
                    <a:pt x="0" y="51252"/>
                  </a:cubicBezTo>
                  <a:cubicBezTo>
                    <a:pt x="0" y="51252"/>
                    <a:pt x="92503" y="53677"/>
                    <a:pt x="141817" y="76516"/>
                  </a:cubicBezTo>
                  <a:close/>
                </a:path>
              </a:pathLst>
            </a:custGeom>
            <a:solidFill>
              <a:srgbClr val="FFFDFC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6B2FD017-AF49-44DE-81CC-F2A0219FD714}"/>
                </a:ext>
              </a:extLst>
            </p:cNvPr>
            <p:cNvSpPr/>
            <p:nvPr/>
          </p:nvSpPr>
          <p:spPr>
            <a:xfrm>
              <a:off x="3531755" y="2240174"/>
              <a:ext cx="169567" cy="33333"/>
            </a:xfrm>
            <a:custGeom>
              <a:avLst/>
              <a:gdLst>
                <a:gd name="connsiteX0" fmla="*/ 169568 w 169567"/>
                <a:gd name="connsiteY0" fmla="*/ 33333 h 33333"/>
                <a:gd name="connsiteX1" fmla="*/ 97288 w 169567"/>
                <a:gd name="connsiteY1" fmla="*/ 4881 h 33333"/>
                <a:gd name="connsiteX2" fmla="*/ 0 w 169567"/>
                <a:gd name="connsiteY2" fmla="*/ 19745 h 33333"/>
                <a:gd name="connsiteX3" fmla="*/ 169568 w 169567"/>
                <a:gd name="connsiteY3" fmla="*/ 33333 h 3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567" h="33333">
                  <a:moveTo>
                    <a:pt x="169568" y="33333"/>
                  </a:moveTo>
                  <a:cubicBezTo>
                    <a:pt x="169568" y="33333"/>
                    <a:pt x="144050" y="15726"/>
                    <a:pt x="97288" y="4881"/>
                  </a:cubicBezTo>
                  <a:cubicBezTo>
                    <a:pt x="25199" y="-11834"/>
                    <a:pt x="0" y="19745"/>
                    <a:pt x="0" y="19745"/>
                  </a:cubicBezTo>
                  <a:lnTo>
                    <a:pt x="169568" y="33333"/>
                  </a:ln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654D282-2F2A-44EB-AE93-E38F49E41E88}"/>
                </a:ext>
              </a:extLst>
            </p:cNvPr>
            <p:cNvSpPr/>
            <p:nvPr/>
          </p:nvSpPr>
          <p:spPr>
            <a:xfrm>
              <a:off x="3262284" y="2225321"/>
              <a:ext cx="178244" cy="25348"/>
            </a:xfrm>
            <a:custGeom>
              <a:avLst/>
              <a:gdLst>
                <a:gd name="connsiteX0" fmla="*/ 0 w 178244"/>
                <a:gd name="connsiteY0" fmla="*/ 25348 h 25348"/>
                <a:gd name="connsiteX1" fmla="*/ 178244 w 178244"/>
                <a:gd name="connsiteY1" fmla="*/ 25348 h 25348"/>
                <a:gd name="connsiteX2" fmla="*/ 0 w 178244"/>
                <a:gd name="connsiteY2" fmla="*/ 25348 h 2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244" h="25348">
                  <a:moveTo>
                    <a:pt x="0" y="25348"/>
                  </a:moveTo>
                  <a:cubicBezTo>
                    <a:pt x="132822" y="-31685"/>
                    <a:pt x="178244" y="25348"/>
                    <a:pt x="178244" y="25348"/>
                  </a:cubicBezTo>
                  <a:lnTo>
                    <a:pt x="0" y="25348"/>
                  </a:ln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548E5516-1A2E-4295-8A1C-08A171242D17}"/>
                </a:ext>
              </a:extLst>
            </p:cNvPr>
            <p:cNvSpPr/>
            <p:nvPr/>
          </p:nvSpPr>
          <p:spPr>
            <a:xfrm>
              <a:off x="3376988" y="2551591"/>
              <a:ext cx="189280" cy="55884"/>
            </a:xfrm>
            <a:custGeom>
              <a:avLst/>
              <a:gdLst>
                <a:gd name="connsiteX0" fmla="*/ 0 w 189280"/>
                <a:gd name="connsiteY0" fmla="*/ 0 h 55884"/>
                <a:gd name="connsiteX1" fmla="*/ 189281 w 189280"/>
                <a:gd name="connsiteY1" fmla="*/ 10526 h 55884"/>
                <a:gd name="connsiteX2" fmla="*/ 91738 w 189280"/>
                <a:gd name="connsiteY2" fmla="*/ 55885 h 55884"/>
                <a:gd name="connsiteX3" fmla="*/ 0 w 189280"/>
                <a:gd name="connsiteY3" fmla="*/ 0 h 5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280" h="55884">
                  <a:moveTo>
                    <a:pt x="0" y="0"/>
                  </a:moveTo>
                  <a:cubicBezTo>
                    <a:pt x="0" y="0"/>
                    <a:pt x="166506" y="12376"/>
                    <a:pt x="189281" y="10526"/>
                  </a:cubicBezTo>
                  <a:cubicBezTo>
                    <a:pt x="175692" y="24689"/>
                    <a:pt x="135246" y="55885"/>
                    <a:pt x="91738" y="55885"/>
                  </a:cubicBezTo>
                  <a:cubicBezTo>
                    <a:pt x="48293" y="5582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2">
                <a:lumMod val="6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2AA4F68D-3C8C-4A6A-8780-EBB22615B1FA}"/>
                </a:ext>
              </a:extLst>
            </p:cNvPr>
            <p:cNvSpPr/>
            <p:nvPr/>
          </p:nvSpPr>
          <p:spPr>
            <a:xfrm>
              <a:off x="3393192" y="2554079"/>
              <a:ext cx="159105" cy="38532"/>
            </a:xfrm>
            <a:custGeom>
              <a:avLst/>
              <a:gdLst>
                <a:gd name="connsiteX0" fmla="*/ 0 w 159105"/>
                <a:gd name="connsiteY0" fmla="*/ 0 h 38532"/>
                <a:gd name="connsiteX1" fmla="*/ 159106 w 159105"/>
                <a:gd name="connsiteY1" fmla="*/ 9250 h 38532"/>
                <a:gd name="connsiteX2" fmla="*/ 74641 w 159105"/>
                <a:gd name="connsiteY2" fmla="*/ 38532 h 38532"/>
                <a:gd name="connsiteX3" fmla="*/ 0 w 159105"/>
                <a:gd name="connsiteY3" fmla="*/ 0 h 3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105" h="38532">
                  <a:moveTo>
                    <a:pt x="0" y="0"/>
                  </a:moveTo>
                  <a:cubicBezTo>
                    <a:pt x="0" y="0"/>
                    <a:pt x="141562" y="10207"/>
                    <a:pt x="159106" y="9250"/>
                  </a:cubicBezTo>
                  <a:cubicBezTo>
                    <a:pt x="148643" y="16714"/>
                    <a:pt x="108133" y="38532"/>
                    <a:pt x="74641" y="38532"/>
                  </a:cubicBezTo>
                  <a:cubicBezTo>
                    <a:pt x="41212" y="38532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2">
                <a:lumMod val="6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1BD3170-C2E2-44B5-A036-DCB23D21F6E9}"/>
                </a:ext>
              </a:extLst>
            </p:cNvPr>
            <p:cNvSpPr/>
            <p:nvPr/>
          </p:nvSpPr>
          <p:spPr>
            <a:xfrm>
              <a:off x="3559506" y="2551591"/>
              <a:ext cx="12366" cy="23476"/>
            </a:xfrm>
            <a:custGeom>
              <a:avLst/>
              <a:gdLst>
                <a:gd name="connsiteX0" fmla="*/ 0 w 12366"/>
                <a:gd name="connsiteY0" fmla="*/ 0 h 23476"/>
                <a:gd name="connsiteX1" fmla="*/ 6762 w 12366"/>
                <a:gd name="connsiteY1" fmla="*/ 23477 h 23476"/>
                <a:gd name="connsiteX2" fmla="*/ 0 w 12366"/>
                <a:gd name="connsiteY2" fmla="*/ 0 h 2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66" h="23476">
                  <a:moveTo>
                    <a:pt x="0" y="0"/>
                  </a:moveTo>
                  <a:lnTo>
                    <a:pt x="6762" y="23477"/>
                  </a:lnTo>
                  <a:cubicBezTo>
                    <a:pt x="6762" y="23413"/>
                    <a:pt x="23094" y="8293"/>
                    <a:pt x="0" y="0"/>
                  </a:cubicBezTo>
                  <a:close/>
                </a:path>
              </a:pathLst>
            </a:custGeom>
            <a:solidFill>
              <a:schemeClr val="bg2">
                <a:lumMod val="6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931B03B-369A-4EE7-8347-D54692709B21}"/>
                </a:ext>
              </a:extLst>
            </p:cNvPr>
            <p:cNvSpPr/>
            <p:nvPr/>
          </p:nvSpPr>
          <p:spPr>
            <a:xfrm>
              <a:off x="3371312" y="2543812"/>
              <a:ext cx="15435" cy="20411"/>
            </a:xfrm>
            <a:custGeom>
              <a:avLst/>
              <a:gdLst>
                <a:gd name="connsiteX0" fmla="*/ 3506 w 15435"/>
                <a:gd name="connsiteY0" fmla="*/ 20411 h 20411"/>
                <a:gd name="connsiteX1" fmla="*/ 15436 w 15435"/>
                <a:gd name="connsiteY1" fmla="*/ 571 h 20411"/>
                <a:gd name="connsiteX2" fmla="*/ 2230 w 15435"/>
                <a:gd name="connsiteY2" fmla="*/ 4143 h 20411"/>
                <a:gd name="connsiteX3" fmla="*/ 3506 w 15435"/>
                <a:gd name="connsiteY3" fmla="*/ 20411 h 2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35" h="20411">
                  <a:moveTo>
                    <a:pt x="3506" y="20411"/>
                  </a:moveTo>
                  <a:lnTo>
                    <a:pt x="15436" y="571"/>
                  </a:lnTo>
                  <a:cubicBezTo>
                    <a:pt x="15436" y="571"/>
                    <a:pt x="7908" y="-2109"/>
                    <a:pt x="2230" y="4143"/>
                  </a:cubicBezTo>
                  <a:cubicBezTo>
                    <a:pt x="-3447" y="10395"/>
                    <a:pt x="3506" y="20411"/>
                    <a:pt x="3506" y="20411"/>
                  </a:cubicBezTo>
                  <a:close/>
                </a:path>
              </a:pathLst>
            </a:custGeom>
            <a:solidFill>
              <a:schemeClr val="bg2">
                <a:lumMod val="6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125032FF-2783-432C-9A77-CBDFE16904DE}"/>
                </a:ext>
              </a:extLst>
            </p:cNvPr>
            <p:cNvSpPr/>
            <p:nvPr/>
          </p:nvSpPr>
          <p:spPr>
            <a:xfrm>
              <a:off x="3422155" y="2385341"/>
              <a:ext cx="109344" cy="128169"/>
            </a:xfrm>
            <a:custGeom>
              <a:avLst/>
              <a:gdLst>
                <a:gd name="connsiteX0" fmla="*/ 54034 w 109344"/>
                <a:gd name="connsiteY0" fmla="*/ 128101 h 128169"/>
                <a:gd name="connsiteX1" fmla="*/ 0 w 109344"/>
                <a:gd name="connsiteY1" fmla="*/ 100669 h 128169"/>
                <a:gd name="connsiteX2" fmla="*/ 31961 w 109344"/>
                <a:gd name="connsiteY2" fmla="*/ 63157 h 128169"/>
                <a:gd name="connsiteX3" fmla="*/ 52185 w 109344"/>
                <a:gd name="connsiteY3" fmla="*/ 0 h 128169"/>
                <a:gd name="connsiteX4" fmla="*/ 75470 w 109344"/>
                <a:gd name="connsiteY4" fmla="*/ 66794 h 128169"/>
                <a:gd name="connsiteX5" fmla="*/ 109345 w 109344"/>
                <a:gd name="connsiteY5" fmla="*/ 101881 h 128169"/>
                <a:gd name="connsiteX6" fmla="*/ 54034 w 109344"/>
                <a:gd name="connsiteY6" fmla="*/ 128101 h 12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344" h="128169">
                  <a:moveTo>
                    <a:pt x="54034" y="128101"/>
                  </a:moveTo>
                  <a:cubicBezTo>
                    <a:pt x="54034" y="128101"/>
                    <a:pt x="0" y="115023"/>
                    <a:pt x="0" y="100669"/>
                  </a:cubicBezTo>
                  <a:cubicBezTo>
                    <a:pt x="0" y="86188"/>
                    <a:pt x="21052" y="81849"/>
                    <a:pt x="31961" y="63157"/>
                  </a:cubicBezTo>
                  <a:cubicBezTo>
                    <a:pt x="46634" y="38086"/>
                    <a:pt x="52185" y="0"/>
                    <a:pt x="52185" y="0"/>
                  </a:cubicBezTo>
                  <a:cubicBezTo>
                    <a:pt x="52185" y="0"/>
                    <a:pt x="58883" y="39234"/>
                    <a:pt x="75470" y="66794"/>
                  </a:cubicBezTo>
                  <a:cubicBezTo>
                    <a:pt x="86124" y="84465"/>
                    <a:pt x="109345" y="89632"/>
                    <a:pt x="109345" y="101881"/>
                  </a:cubicBezTo>
                  <a:cubicBezTo>
                    <a:pt x="109345" y="112535"/>
                    <a:pt x="79170" y="129377"/>
                    <a:pt x="54034" y="128101"/>
                  </a:cubicBez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1A7E00C5-EB27-489B-BEC9-E3D328398EDE}"/>
                </a:ext>
              </a:extLst>
            </p:cNvPr>
            <p:cNvSpPr/>
            <p:nvPr/>
          </p:nvSpPr>
          <p:spPr>
            <a:xfrm>
              <a:off x="3559506" y="2336729"/>
              <a:ext cx="87399" cy="87399"/>
            </a:xfrm>
            <a:custGeom>
              <a:avLst/>
              <a:gdLst>
                <a:gd name="connsiteX0" fmla="*/ 87400 w 87399"/>
                <a:gd name="connsiteY0" fmla="*/ 43700 h 87399"/>
                <a:gd name="connsiteX1" fmla="*/ 43700 w 87399"/>
                <a:gd name="connsiteY1" fmla="*/ 87400 h 87399"/>
                <a:gd name="connsiteX2" fmla="*/ 0 w 87399"/>
                <a:gd name="connsiteY2" fmla="*/ 43700 h 87399"/>
                <a:gd name="connsiteX3" fmla="*/ 43700 w 87399"/>
                <a:gd name="connsiteY3" fmla="*/ 0 h 87399"/>
                <a:gd name="connsiteX4" fmla="*/ 87400 w 87399"/>
                <a:gd name="connsiteY4" fmla="*/ 43700 h 8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399" h="87399">
                  <a:moveTo>
                    <a:pt x="87400" y="43700"/>
                  </a:moveTo>
                  <a:cubicBezTo>
                    <a:pt x="87400" y="67814"/>
                    <a:pt x="67814" y="87400"/>
                    <a:pt x="43700" y="87400"/>
                  </a:cubicBezTo>
                  <a:cubicBezTo>
                    <a:pt x="19585" y="87400"/>
                    <a:pt x="0" y="67814"/>
                    <a:pt x="0" y="43700"/>
                  </a:cubicBezTo>
                  <a:cubicBezTo>
                    <a:pt x="0" y="19585"/>
                    <a:pt x="19585" y="0"/>
                    <a:pt x="43700" y="0"/>
                  </a:cubicBezTo>
                  <a:cubicBezTo>
                    <a:pt x="67814" y="0"/>
                    <a:pt x="87400" y="19585"/>
                    <a:pt x="87400" y="43700"/>
                  </a:cubicBez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0F4A3CB1-11F3-47FB-91A7-7D095CD816D8}"/>
                </a:ext>
              </a:extLst>
            </p:cNvPr>
            <p:cNvSpPr/>
            <p:nvPr/>
          </p:nvSpPr>
          <p:spPr>
            <a:xfrm>
              <a:off x="3307706" y="2327478"/>
              <a:ext cx="87399" cy="87399"/>
            </a:xfrm>
            <a:custGeom>
              <a:avLst/>
              <a:gdLst>
                <a:gd name="connsiteX0" fmla="*/ 87399 w 87399"/>
                <a:gd name="connsiteY0" fmla="*/ 43700 h 87399"/>
                <a:gd name="connsiteX1" fmla="*/ 43700 w 87399"/>
                <a:gd name="connsiteY1" fmla="*/ 87400 h 87399"/>
                <a:gd name="connsiteX2" fmla="*/ 0 w 87399"/>
                <a:gd name="connsiteY2" fmla="*/ 43700 h 87399"/>
                <a:gd name="connsiteX3" fmla="*/ 43700 w 87399"/>
                <a:gd name="connsiteY3" fmla="*/ 0 h 87399"/>
                <a:gd name="connsiteX4" fmla="*/ 87399 w 87399"/>
                <a:gd name="connsiteY4" fmla="*/ 43700 h 8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399" h="87399">
                  <a:moveTo>
                    <a:pt x="87399" y="43700"/>
                  </a:moveTo>
                  <a:cubicBezTo>
                    <a:pt x="87399" y="67878"/>
                    <a:pt x="67814" y="87400"/>
                    <a:pt x="43700" y="87400"/>
                  </a:cubicBezTo>
                  <a:cubicBezTo>
                    <a:pt x="19521" y="87400"/>
                    <a:pt x="0" y="67814"/>
                    <a:pt x="0" y="43700"/>
                  </a:cubicBezTo>
                  <a:cubicBezTo>
                    <a:pt x="0" y="19585"/>
                    <a:pt x="19521" y="0"/>
                    <a:pt x="43700" y="0"/>
                  </a:cubicBezTo>
                  <a:cubicBezTo>
                    <a:pt x="67814" y="0"/>
                    <a:pt x="87399" y="19585"/>
                    <a:pt x="87399" y="43700"/>
                  </a:cubicBez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BD600289-2BED-41A8-B436-E4C1754236E1}"/>
                </a:ext>
              </a:extLst>
            </p:cNvPr>
            <p:cNvSpPr/>
            <p:nvPr/>
          </p:nvSpPr>
          <p:spPr>
            <a:xfrm>
              <a:off x="3539028" y="2328751"/>
              <a:ext cx="159679" cy="56589"/>
            </a:xfrm>
            <a:custGeom>
              <a:avLst/>
              <a:gdLst>
                <a:gd name="connsiteX0" fmla="*/ 0 w 159679"/>
                <a:gd name="connsiteY0" fmla="*/ 56589 h 56589"/>
                <a:gd name="connsiteX1" fmla="*/ 5231 w 159679"/>
                <a:gd name="connsiteY1" fmla="*/ 45999 h 56589"/>
                <a:gd name="connsiteX2" fmla="*/ 57352 w 159679"/>
                <a:gd name="connsiteY2" fmla="*/ 3129 h 56589"/>
                <a:gd name="connsiteX3" fmla="*/ 159680 w 159679"/>
                <a:gd name="connsiteY3" fmla="*/ 14740 h 56589"/>
                <a:gd name="connsiteX4" fmla="*/ 64752 w 159679"/>
                <a:gd name="connsiteY4" fmla="*/ 23990 h 56589"/>
                <a:gd name="connsiteX5" fmla="*/ 17097 w 159679"/>
                <a:gd name="connsiteY5" fmla="*/ 43958 h 56589"/>
                <a:gd name="connsiteX6" fmla="*/ 0 w 159679"/>
                <a:gd name="connsiteY6" fmla="*/ 56589 h 5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79" h="56589">
                  <a:moveTo>
                    <a:pt x="0" y="56589"/>
                  </a:moveTo>
                  <a:cubicBezTo>
                    <a:pt x="0" y="56589"/>
                    <a:pt x="1659" y="52251"/>
                    <a:pt x="5231" y="45999"/>
                  </a:cubicBezTo>
                  <a:cubicBezTo>
                    <a:pt x="12887" y="32730"/>
                    <a:pt x="29282" y="10784"/>
                    <a:pt x="57352" y="3129"/>
                  </a:cubicBezTo>
                  <a:cubicBezTo>
                    <a:pt x="98628" y="-8163"/>
                    <a:pt x="159680" y="14740"/>
                    <a:pt x="159680" y="14740"/>
                  </a:cubicBezTo>
                  <a:cubicBezTo>
                    <a:pt x="159680" y="14740"/>
                    <a:pt x="105454" y="14102"/>
                    <a:pt x="64752" y="23990"/>
                  </a:cubicBezTo>
                  <a:cubicBezTo>
                    <a:pt x="44402" y="28902"/>
                    <a:pt x="28198" y="37068"/>
                    <a:pt x="17097" y="43958"/>
                  </a:cubicBezTo>
                  <a:cubicBezTo>
                    <a:pt x="5997" y="50911"/>
                    <a:pt x="0" y="56589"/>
                    <a:pt x="0" y="56589"/>
                  </a:cubicBez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955E2D5F-F81E-4166-8F0B-E6FE79DD6786}"/>
                </a:ext>
              </a:extLst>
            </p:cNvPr>
            <p:cNvSpPr/>
            <p:nvPr/>
          </p:nvSpPr>
          <p:spPr>
            <a:xfrm>
              <a:off x="3261710" y="2323563"/>
              <a:ext cx="159679" cy="56865"/>
            </a:xfrm>
            <a:custGeom>
              <a:avLst/>
              <a:gdLst>
                <a:gd name="connsiteX0" fmla="*/ 159680 w 159679"/>
                <a:gd name="connsiteY0" fmla="*/ 56865 h 56865"/>
                <a:gd name="connsiteX1" fmla="*/ 102328 w 159679"/>
                <a:gd name="connsiteY1" fmla="*/ 3405 h 56865"/>
                <a:gd name="connsiteX2" fmla="*/ 0 w 159679"/>
                <a:gd name="connsiteY2" fmla="*/ 12527 h 56865"/>
                <a:gd name="connsiteX3" fmla="*/ 94991 w 159679"/>
                <a:gd name="connsiteY3" fmla="*/ 24266 h 56865"/>
                <a:gd name="connsiteX4" fmla="*/ 159680 w 159679"/>
                <a:gd name="connsiteY4" fmla="*/ 56865 h 5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679" h="56865">
                  <a:moveTo>
                    <a:pt x="159680" y="56865"/>
                  </a:moveTo>
                  <a:cubicBezTo>
                    <a:pt x="159680" y="56865"/>
                    <a:pt x="143667" y="14696"/>
                    <a:pt x="102328" y="3405"/>
                  </a:cubicBezTo>
                  <a:cubicBezTo>
                    <a:pt x="61052" y="-7887"/>
                    <a:pt x="0" y="12527"/>
                    <a:pt x="0" y="12527"/>
                  </a:cubicBezTo>
                  <a:cubicBezTo>
                    <a:pt x="0" y="12527"/>
                    <a:pt x="54290" y="14377"/>
                    <a:pt x="94991" y="24266"/>
                  </a:cubicBezTo>
                  <a:cubicBezTo>
                    <a:pt x="135629" y="34090"/>
                    <a:pt x="159680" y="56865"/>
                    <a:pt x="159680" y="56865"/>
                  </a:cubicBezTo>
                  <a:close/>
                </a:path>
              </a:pathLst>
            </a:custGeom>
            <a:solidFill>
              <a:schemeClr val="accent3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E0EF6F08-4B44-4C7D-B786-5F14BBAE8A60}"/>
                </a:ext>
              </a:extLst>
            </p:cNvPr>
            <p:cNvSpPr/>
            <p:nvPr/>
          </p:nvSpPr>
          <p:spPr>
            <a:xfrm>
              <a:off x="3055590" y="1938135"/>
              <a:ext cx="867322" cy="1025739"/>
            </a:xfrm>
            <a:custGeom>
              <a:avLst/>
              <a:gdLst>
                <a:gd name="connsiteX0" fmla="*/ 420600 w 867322"/>
                <a:gd name="connsiteY0" fmla="*/ 160637 h 1025739"/>
                <a:gd name="connsiteX1" fmla="*/ 214477 w 867322"/>
                <a:gd name="connsiteY1" fmla="*/ 320125 h 1025739"/>
                <a:gd name="connsiteX2" fmla="*/ 212818 w 867322"/>
                <a:gd name="connsiteY2" fmla="*/ 724651 h 1025739"/>
                <a:gd name="connsiteX3" fmla="*/ 262069 w 867322"/>
                <a:gd name="connsiteY3" fmla="*/ 832657 h 1025739"/>
                <a:gd name="connsiteX4" fmla="*/ 212563 w 867322"/>
                <a:gd name="connsiteY4" fmla="*/ 851668 h 1025739"/>
                <a:gd name="connsiteX5" fmla="*/ 153935 w 867322"/>
                <a:gd name="connsiteY5" fmla="*/ 999227 h 1025739"/>
                <a:gd name="connsiteX6" fmla="*/ 30300 w 867322"/>
                <a:gd name="connsiteY6" fmla="*/ 805225 h 1025739"/>
                <a:gd name="connsiteX7" fmla="*/ 2613 w 867322"/>
                <a:gd name="connsiteY7" fmla="*/ 642738 h 1025739"/>
                <a:gd name="connsiteX8" fmla="*/ 65069 w 867322"/>
                <a:gd name="connsiteY8" fmla="*/ 238212 h 1025739"/>
                <a:gd name="connsiteX9" fmla="*/ 485416 w 867322"/>
                <a:gd name="connsiteY9" fmla="*/ 0 h 1025739"/>
                <a:gd name="connsiteX10" fmla="*/ 842989 w 867322"/>
                <a:gd name="connsiteY10" fmla="*/ 390491 h 1025739"/>
                <a:gd name="connsiteX11" fmla="*/ 758779 w 867322"/>
                <a:gd name="connsiteY11" fmla="*/ 484334 h 1025739"/>
                <a:gd name="connsiteX12" fmla="*/ 812941 w 867322"/>
                <a:gd name="connsiteY12" fmla="*/ 979769 h 1025739"/>
                <a:gd name="connsiteX13" fmla="*/ 629147 w 867322"/>
                <a:gd name="connsiteY13" fmla="*/ 821876 h 1025739"/>
                <a:gd name="connsiteX14" fmla="*/ 681523 w 867322"/>
                <a:gd name="connsiteY14" fmla="*/ 504239 h 1025739"/>
                <a:gd name="connsiteX15" fmla="*/ 658875 w 867322"/>
                <a:gd name="connsiteY15" fmla="*/ 261625 h 1025739"/>
                <a:gd name="connsiteX16" fmla="*/ 420600 w 867322"/>
                <a:gd name="connsiteY16" fmla="*/ 160637 h 1025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67322" h="1025739">
                  <a:moveTo>
                    <a:pt x="420600" y="160637"/>
                  </a:moveTo>
                  <a:cubicBezTo>
                    <a:pt x="420600" y="160637"/>
                    <a:pt x="366565" y="248100"/>
                    <a:pt x="214477" y="320125"/>
                  </a:cubicBezTo>
                  <a:cubicBezTo>
                    <a:pt x="202994" y="357956"/>
                    <a:pt x="201335" y="655561"/>
                    <a:pt x="212818" y="724651"/>
                  </a:cubicBezTo>
                  <a:cubicBezTo>
                    <a:pt x="224301" y="793742"/>
                    <a:pt x="288416" y="803120"/>
                    <a:pt x="262069" y="832657"/>
                  </a:cubicBezTo>
                  <a:cubicBezTo>
                    <a:pt x="235657" y="862258"/>
                    <a:pt x="235274" y="819898"/>
                    <a:pt x="212563" y="851668"/>
                  </a:cubicBezTo>
                  <a:cubicBezTo>
                    <a:pt x="202675" y="865512"/>
                    <a:pt x="153935" y="999227"/>
                    <a:pt x="153935" y="999227"/>
                  </a:cubicBezTo>
                  <a:cubicBezTo>
                    <a:pt x="153935" y="999227"/>
                    <a:pt x="-81980" y="866277"/>
                    <a:pt x="30300" y="805225"/>
                  </a:cubicBezTo>
                  <a:cubicBezTo>
                    <a:pt x="142133" y="744428"/>
                    <a:pt x="53840" y="693966"/>
                    <a:pt x="2613" y="642738"/>
                  </a:cubicBezTo>
                  <a:cubicBezTo>
                    <a:pt x="-10529" y="629596"/>
                    <a:pt x="53585" y="264495"/>
                    <a:pt x="65069" y="238212"/>
                  </a:cubicBezTo>
                  <a:cubicBezTo>
                    <a:pt x="137412" y="160892"/>
                    <a:pt x="340090" y="38469"/>
                    <a:pt x="485416" y="0"/>
                  </a:cubicBezTo>
                  <a:cubicBezTo>
                    <a:pt x="557760" y="13142"/>
                    <a:pt x="844201" y="282231"/>
                    <a:pt x="842989" y="390491"/>
                  </a:cubicBezTo>
                  <a:cubicBezTo>
                    <a:pt x="841904" y="489374"/>
                    <a:pt x="772814" y="493330"/>
                    <a:pt x="758779" y="484334"/>
                  </a:cubicBezTo>
                  <a:cubicBezTo>
                    <a:pt x="690518" y="440698"/>
                    <a:pt x="984040" y="817410"/>
                    <a:pt x="812941" y="979769"/>
                  </a:cubicBezTo>
                  <a:cubicBezTo>
                    <a:pt x="653517" y="1131028"/>
                    <a:pt x="664107" y="864172"/>
                    <a:pt x="629147" y="821876"/>
                  </a:cubicBezTo>
                  <a:cubicBezTo>
                    <a:pt x="635335" y="730903"/>
                    <a:pt x="673676" y="607459"/>
                    <a:pt x="681523" y="504239"/>
                  </a:cubicBezTo>
                  <a:cubicBezTo>
                    <a:pt x="690390" y="387238"/>
                    <a:pt x="667935" y="294033"/>
                    <a:pt x="658875" y="261625"/>
                  </a:cubicBezTo>
                  <a:lnTo>
                    <a:pt x="420600" y="160637"/>
                  </a:ln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FCEC1F66-521A-4BF3-AA78-622C7F240197}"/>
                </a:ext>
              </a:extLst>
            </p:cNvPr>
            <p:cNvSpPr/>
            <p:nvPr/>
          </p:nvSpPr>
          <p:spPr>
            <a:xfrm>
              <a:off x="3137604" y="1937114"/>
              <a:ext cx="749823" cy="1028572"/>
            </a:xfrm>
            <a:custGeom>
              <a:avLst/>
              <a:gdLst>
                <a:gd name="connsiteX0" fmla="*/ 749619 w 749823"/>
                <a:gd name="connsiteY0" fmla="*/ 954442 h 1028572"/>
                <a:gd name="connsiteX1" fmla="*/ 647865 w 749823"/>
                <a:gd name="connsiteY1" fmla="*/ 665003 h 1028572"/>
                <a:gd name="connsiteX2" fmla="*/ 642889 w 749823"/>
                <a:gd name="connsiteY2" fmla="*/ 642164 h 1028572"/>
                <a:gd name="connsiteX3" fmla="*/ 627834 w 749823"/>
                <a:gd name="connsiteY3" fmla="*/ 572244 h 1028572"/>
                <a:gd name="connsiteX4" fmla="*/ 671278 w 749823"/>
                <a:gd name="connsiteY4" fmla="*/ 402549 h 1028572"/>
                <a:gd name="connsiteX5" fmla="*/ 710129 w 749823"/>
                <a:gd name="connsiteY5" fmla="*/ 358019 h 1028572"/>
                <a:gd name="connsiteX6" fmla="*/ 384008 w 749823"/>
                <a:gd name="connsiteY6" fmla="*/ 43317 h 1028572"/>
                <a:gd name="connsiteX7" fmla="*/ 403338 w 749823"/>
                <a:gd name="connsiteY7" fmla="*/ 1085 h 1028572"/>
                <a:gd name="connsiteX8" fmla="*/ 399319 w 749823"/>
                <a:gd name="connsiteY8" fmla="*/ 0 h 1028572"/>
                <a:gd name="connsiteX9" fmla="*/ 394342 w 749823"/>
                <a:gd name="connsiteY9" fmla="*/ 1404 h 1028572"/>
                <a:gd name="connsiteX10" fmla="*/ 362190 w 749823"/>
                <a:gd name="connsiteY10" fmla="*/ 76299 h 1028572"/>
                <a:gd name="connsiteX11" fmla="*/ 361424 w 749823"/>
                <a:gd name="connsiteY11" fmla="*/ 73429 h 1028572"/>
                <a:gd name="connsiteX12" fmla="*/ 27073 w 749823"/>
                <a:gd name="connsiteY12" fmla="*/ 217223 h 1028572"/>
                <a:gd name="connsiteX13" fmla="*/ 47104 w 749823"/>
                <a:gd name="connsiteY13" fmla="*/ 638336 h 1028572"/>
                <a:gd name="connsiteX14" fmla="*/ 80980 w 749823"/>
                <a:gd name="connsiteY14" fmla="*/ 730393 h 1028572"/>
                <a:gd name="connsiteX15" fmla="*/ 28157 w 749823"/>
                <a:gd name="connsiteY15" fmla="*/ 802801 h 1028572"/>
                <a:gd name="connsiteX16" fmla="*/ 4170 w 749823"/>
                <a:gd name="connsiteY16" fmla="*/ 840504 h 1028572"/>
                <a:gd name="connsiteX17" fmla="*/ 96163 w 749823"/>
                <a:gd name="connsiteY17" fmla="*/ 930328 h 1028572"/>
                <a:gd name="connsiteX18" fmla="*/ 100884 w 749823"/>
                <a:gd name="connsiteY18" fmla="*/ 920567 h 1028572"/>
                <a:gd name="connsiteX19" fmla="*/ 12081 w 749823"/>
                <a:gd name="connsiteY19" fmla="*/ 840312 h 1028572"/>
                <a:gd name="connsiteX20" fmla="*/ 32432 w 749823"/>
                <a:gd name="connsiteY20" fmla="*/ 809435 h 1028572"/>
                <a:gd name="connsiteX21" fmla="*/ 88826 w 749823"/>
                <a:gd name="connsiteY21" fmla="*/ 731478 h 1028572"/>
                <a:gd name="connsiteX22" fmla="*/ 53037 w 749823"/>
                <a:gd name="connsiteY22" fmla="*/ 633105 h 1028572"/>
                <a:gd name="connsiteX23" fmla="*/ 33580 w 749823"/>
                <a:gd name="connsiteY23" fmla="*/ 221753 h 1028572"/>
                <a:gd name="connsiteX24" fmla="*/ 360084 w 749823"/>
                <a:gd name="connsiteY24" fmla="*/ 81977 h 1028572"/>
                <a:gd name="connsiteX25" fmla="*/ 354088 w 749823"/>
                <a:gd name="connsiteY25" fmla="*/ 99393 h 1028572"/>
                <a:gd name="connsiteX26" fmla="*/ 353514 w 749823"/>
                <a:gd name="connsiteY26" fmla="*/ 98245 h 1028572"/>
                <a:gd name="connsiteX27" fmla="*/ 40214 w 749823"/>
                <a:gd name="connsiteY27" fmla="*/ 332055 h 1028572"/>
                <a:gd name="connsiteX28" fmla="*/ 127486 w 749823"/>
                <a:gd name="connsiteY28" fmla="*/ 696199 h 1028572"/>
                <a:gd name="connsiteX29" fmla="*/ 126019 w 749823"/>
                <a:gd name="connsiteY29" fmla="*/ 672786 h 1028572"/>
                <a:gd name="connsiteX30" fmla="*/ 47870 w 749823"/>
                <a:gd name="connsiteY30" fmla="*/ 334033 h 1028572"/>
                <a:gd name="connsiteX31" fmla="*/ 59991 w 749823"/>
                <a:gd name="connsiteY31" fmla="*/ 309407 h 1028572"/>
                <a:gd name="connsiteX32" fmla="*/ 122893 w 749823"/>
                <a:gd name="connsiteY32" fmla="*/ 510427 h 1028572"/>
                <a:gd name="connsiteX33" fmla="*/ 123021 w 749823"/>
                <a:gd name="connsiteY33" fmla="*/ 493712 h 1028572"/>
                <a:gd name="connsiteX34" fmla="*/ 66307 w 749823"/>
                <a:gd name="connsiteY34" fmla="*/ 300859 h 1028572"/>
                <a:gd name="connsiteX35" fmla="*/ 351281 w 749823"/>
                <a:gd name="connsiteY35" fmla="*/ 108133 h 1028572"/>
                <a:gd name="connsiteX36" fmla="*/ 338394 w 749823"/>
                <a:gd name="connsiteY36" fmla="*/ 161594 h 1028572"/>
                <a:gd name="connsiteX37" fmla="*/ 338458 w 749823"/>
                <a:gd name="connsiteY37" fmla="*/ 161466 h 1028572"/>
                <a:gd name="connsiteX38" fmla="*/ 345922 w 749823"/>
                <a:gd name="connsiteY38" fmla="*/ 164656 h 1028572"/>
                <a:gd name="connsiteX39" fmla="*/ 351408 w 749823"/>
                <a:gd name="connsiteY39" fmla="*/ 137479 h 1028572"/>
                <a:gd name="connsiteX40" fmla="*/ 645760 w 749823"/>
                <a:gd name="connsiteY40" fmla="*/ 271704 h 1028572"/>
                <a:gd name="connsiteX41" fmla="*/ 702155 w 749823"/>
                <a:gd name="connsiteY41" fmla="*/ 357126 h 1028572"/>
                <a:gd name="connsiteX42" fmla="*/ 667769 w 749823"/>
                <a:gd name="connsiteY42" fmla="*/ 395276 h 1028572"/>
                <a:gd name="connsiteX43" fmla="*/ 620050 w 749823"/>
                <a:gd name="connsiteY43" fmla="*/ 573712 h 1028572"/>
                <a:gd name="connsiteX44" fmla="*/ 635106 w 749823"/>
                <a:gd name="connsiteY44" fmla="*/ 643631 h 1028572"/>
                <a:gd name="connsiteX45" fmla="*/ 655266 w 749823"/>
                <a:gd name="connsiteY45" fmla="*/ 1024809 h 1028572"/>
                <a:gd name="connsiteX46" fmla="*/ 662793 w 749823"/>
                <a:gd name="connsiteY46" fmla="*/ 1028573 h 1028572"/>
                <a:gd name="connsiteX47" fmla="*/ 652076 w 749823"/>
                <a:gd name="connsiteY47" fmla="*/ 684971 h 1028572"/>
                <a:gd name="connsiteX48" fmla="*/ 740624 w 749823"/>
                <a:gd name="connsiteY48" fmla="*/ 969307 h 1028572"/>
                <a:gd name="connsiteX49" fmla="*/ 749619 w 749823"/>
                <a:gd name="connsiteY49" fmla="*/ 954442 h 1028572"/>
                <a:gd name="connsiteX50" fmla="*/ 353577 w 749823"/>
                <a:gd name="connsiteY50" fmla="*/ 129887 h 1028572"/>
                <a:gd name="connsiteX51" fmla="*/ 380946 w 749823"/>
                <a:gd name="connsiteY51" fmla="*/ 50845 h 1028572"/>
                <a:gd name="connsiteX52" fmla="*/ 542667 w 749823"/>
                <a:gd name="connsiteY52" fmla="*/ 177670 h 1028572"/>
                <a:gd name="connsiteX53" fmla="*/ 630066 w 749823"/>
                <a:gd name="connsiteY53" fmla="*/ 256011 h 1028572"/>
                <a:gd name="connsiteX54" fmla="*/ 353577 w 749823"/>
                <a:gd name="connsiteY54" fmla="*/ 129887 h 102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749823" h="1028572">
                  <a:moveTo>
                    <a:pt x="749619" y="954442"/>
                  </a:moveTo>
                  <a:cubicBezTo>
                    <a:pt x="754914" y="813136"/>
                    <a:pt x="655903" y="675848"/>
                    <a:pt x="647865" y="665003"/>
                  </a:cubicBezTo>
                  <a:cubicBezTo>
                    <a:pt x="646206" y="657411"/>
                    <a:pt x="644548" y="649756"/>
                    <a:pt x="642889" y="642164"/>
                  </a:cubicBezTo>
                  <a:cubicBezTo>
                    <a:pt x="637786" y="618943"/>
                    <a:pt x="632746" y="595530"/>
                    <a:pt x="627834" y="572244"/>
                  </a:cubicBezTo>
                  <a:cubicBezTo>
                    <a:pt x="599636" y="437317"/>
                    <a:pt x="637658" y="418817"/>
                    <a:pt x="671278" y="402549"/>
                  </a:cubicBezTo>
                  <a:cubicBezTo>
                    <a:pt x="689970" y="393490"/>
                    <a:pt x="707641" y="384941"/>
                    <a:pt x="710129" y="358019"/>
                  </a:cubicBezTo>
                  <a:cubicBezTo>
                    <a:pt x="716573" y="288419"/>
                    <a:pt x="417181" y="67496"/>
                    <a:pt x="384008" y="43317"/>
                  </a:cubicBezTo>
                  <a:cubicBezTo>
                    <a:pt x="391599" y="25582"/>
                    <a:pt x="398489" y="10973"/>
                    <a:pt x="403338" y="1085"/>
                  </a:cubicBezTo>
                  <a:cubicBezTo>
                    <a:pt x="401998" y="702"/>
                    <a:pt x="400531" y="255"/>
                    <a:pt x="399319" y="0"/>
                  </a:cubicBezTo>
                  <a:cubicBezTo>
                    <a:pt x="397660" y="447"/>
                    <a:pt x="396001" y="893"/>
                    <a:pt x="394342" y="1404"/>
                  </a:cubicBezTo>
                  <a:cubicBezTo>
                    <a:pt x="386177" y="18054"/>
                    <a:pt x="373609" y="45295"/>
                    <a:pt x="362190" y="76299"/>
                  </a:cubicBezTo>
                  <a:lnTo>
                    <a:pt x="361424" y="73429"/>
                  </a:lnTo>
                  <a:cubicBezTo>
                    <a:pt x="349686" y="76618"/>
                    <a:pt x="73452" y="151068"/>
                    <a:pt x="27073" y="217223"/>
                  </a:cubicBezTo>
                  <a:cubicBezTo>
                    <a:pt x="-17967" y="281593"/>
                    <a:pt x="-3740" y="580665"/>
                    <a:pt x="47104" y="638336"/>
                  </a:cubicBezTo>
                  <a:cubicBezTo>
                    <a:pt x="73197" y="667874"/>
                    <a:pt x="85190" y="700601"/>
                    <a:pt x="80980" y="730393"/>
                  </a:cubicBezTo>
                  <a:cubicBezTo>
                    <a:pt x="77024" y="758208"/>
                    <a:pt x="58779" y="783279"/>
                    <a:pt x="28157" y="802801"/>
                  </a:cubicBezTo>
                  <a:cubicBezTo>
                    <a:pt x="11889" y="813199"/>
                    <a:pt x="3787" y="825895"/>
                    <a:pt x="4170" y="840504"/>
                  </a:cubicBezTo>
                  <a:cubicBezTo>
                    <a:pt x="4808" y="865065"/>
                    <a:pt x="73771" y="912720"/>
                    <a:pt x="96163" y="930328"/>
                  </a:cubicBezTo>
                  <a:cubicBezTo>
                    <a:pt x="97439" y="927903"/>
                    <a:pt x="100884" y="920567"/>
                    <a:pt x="100884" y="920567"/>
                  </a:cubicBezTo>
                  <a:cubicBezTo>
                    <a:pt x="80086" y="904044"/>
                    <a:pt x="12591" y="861492"/>
                    <a:pt x="12081" y="840312"/>
                  </a:cubicBezTo>
                  <a:cubicBezTo>
                    <a:pt x="11762" y="828447"/>
                    <a:pt x="18460" y="818367"/>
                    <a:pt x="32432" y="809435"/>
                  </a:cubicBezTo>
                  <a:cubicBezTo>
                    <a:pt x="65031" y="788638"/>
                    <a:pt x="84552" y="761717"/>
                    <a:pt x="88826" y="731478"/>
                  </a:cubicBezTo>
                  <a:cubicBezTo>
                    <a:pt x="93356" y="699388"/>
                    <a:pt x="80661" y="664429"/>
                    <a:pt x="53037" y="633105"/>
                  </a:cubicBezTo>
                  <a:cubicBezTo>
                    <a:pt x="9274" y="583472"/>
                    <a:pt x="-12608" y="287781"/>
                    <a:pt x="33580" y="221753"/>
                  </a:cubicBezTo>
                  <a:cubicBezTo>
                    <a:pt x="75621" y="161657"/>
                    <a:pt x="328314" y="90717"/>
                    <a:pt x="360084" y="81977"/>
                  </a:cubicBezTo>
                  <a:cubicBezTo>
                    <a:pt x="358043" y="87655"/>
                    <a:pt x="356065" y="93524"/>
                    <a:pt x="354088" y="99393"/>
                  </a:cubicBezTo>
                  <a:lnTo>
                    <a:pt x="353514" y="98245"/>
                  </a:lnTo>
                  <a:cubicBezTo>
                    <a:pt x="341711" y="104050"/>
                    <a:pt x="64265" y="241083"/>
                    <a:pt x="40214" y="332055"/>
                  </a:cubicBezTo>
                  <a:cubicBezTo>
                    <a:pt x="15016" y="427237"/>
                    <a:pt x="87551" y="607715"/>
                    <a:pt x="127486" y="696199"/>
                  </a:cubicBezTo>
                  <a:cubicBezTo>
                    <a:pt x="126976" y="689054"/>
                    <a:pt x="126466" y="681207"/>
                    <a:pt x="126019" y="672786"/>
                  </a:cubicBezTo>
                  <a:cubicBezTo>
                    <a:pt x="85700" y="579900"/>
                    <a:pt x="25350" y="419136"/>
                    <a:pt x="47870" y="334033"/>
                  </a:cubicBezTo>
                  <a:cubicBezTo>
                    <a:pt x="49911" y="326186"/>
                    <a:pt x="54186" y="317956"/>
                    <a:pt x="59991" y="309407"/>
                  </a:cubicBezTo>
                  <a:cubicBezTo>
                    <a:pt x="66307" y="340922"/>
                    <a:pt x="89082" y="446504"/>
                    <a:pt x="122893" y="510427"/>
                  </a:cubicBezTo>
                  <a:cubicBezTo>
                    <a:pt x="122957" y="504813"/>
                    <a:pt x="122957" y="499262"/>
                    <a:pt x="123021" y="493712"/>
                  </a:cubicBezTo>
                  <a:cubicBezTo>
                    <a:pt x="90741" y="423729"/>
                    <a:pt x="69114" y="315213"/>
                    <a:pt x="66307" y="300859"/>
                  </a:cubicBezTo>
                  <a:cubicBezTo>
                    <a:pt x="128443" y="222773"/>
                    <a:pt x="316449" y="125741"/>
                    <a:pt x="351281" y="108133"/>
                  </a:cubicBezTo>
                  <a:cubicBezTo>
                    <a:pt x="345858" y="125868"/>
                    <a:pt x="341265" y="144050"/>
                    <a:pt x="338394" y="161594"/>
                  </a:cubicBezTo>
                  <a:cubicBezTo>
                    <a:pt x="338458" y="161530"/>
                    <a:pt x="338458" y="161466"/>
                    <a:pt x="338458" y="161466"/>
                  </a:cubicBezTo>
                  <a:lnTo>
                    <a:pt x="345922" y="164656"/>
                  </a:lnTo>
                  <a:cubicBezTo>
                    <a:pt x="347325" y="155724"/>
                    <a:pt x="349112" y="146666"/>
                    <a:pt x="351408" y="137479"/>
                  </a:cubicBezTo>
                  <a:lnTo>
                    <a:pt x="645760" y="271704"/>
                  </a:lnTo>
                  <a:cubicBezTo>
                    <a:pt x="692331" y="319742"/>
                    <a:pt x="703367" y="344431"/>
                    <a:pt x="702155" y="357126"/>
                  </a:cubicBezTo>
                  <a:cubicBezTo>
                    <a:pt x="700050" y="379646"/>
                    <a:pt x="685823" y="386536"/>
                    <a:pt x="667769" y="395276"/>
                  </a:cubicBezTo>
                  <a:cubicBezTo>
                    <a:pt x="633320" y="411990"/>
                    <a:pt x="590513" y="432724"/>
                    <a:pt x="620050" y="573712"/>
                  </a:cubicBezTo>
                  <a:cubicBezTo>
                    <a:pt x="624963" y="596997"/>
                    <a:pt x="630066" y="620410"/>
                    <a:pt x="635106" y="643631"/>
                  </a:cubicBezTo>
                  <a:cubicBezTo>
                    <a:pt x="665919" y="784938"/>
                    <a:pt x="682251" y="944044"/>
                    <a:pt x="655266" y="1024809"/>
                  </a:cubicBezTo>
                  <a:cubicBezTo>
                    <a:pt x="657626" y="1026084"/>
                    <a:pt x="660305" y="1027871"/>
                    <a:pt x="662793" y="1028573"/>
                  </a:cubicBezTo>
                  <a:cubicBezTo>
                    <a:pt x="687865" y="953932"/>
                    <a:pt x="679253" y="811541"/>
                    <a:pt x="652076" y="684971"/>
                  </a:cubicBezTo>
                  <a:cubicBezTo>
                    <a:pt x="680401" y="727586"/>
                    <a:pt x="752107" y="848925"/>
                    <a:pt x="740624" y="969307"/>
                  </a:cubicBezTo>
                  <a:cubicBezTo>
                    <a:pt x="744260" y="964777"/>
                    <a:pt x="747131" y="959737"/>
                    <a:pt x="749619" y="954442"/>
                  </a:cubicBezTo>
                  <a:close/>
                  <a:moveTo>
                    <a:pt x="353577" y="129887"/>
                  </a:moveTo>
                  <a:cubicBezTo>
                    <a:pt x="360914" y="102073"/>
                    <a:pt x="371185" y="74322"/>
                    <a:pt x="380946" y="50845"/>
                  </a:cubicBezTo>
                  <a:cubicBezTo>
                    <a:pt x="398680" y="63859"/>
                    <a:pt x="471343" y="117766"/>
                    <a:pt x="542667" y="177670"/>
                  </a:cubicBezTo>
                  <a:cubicBezTo>
                    <a:pt x="579221" y="208419"/>
                    <a:pt x="607802" y="234257"/>
                    <a:pt x="630066" y="256011"/>
                  </a:cubicBezTo>
                  <a:lnTo>
                    <a:pt x="353577" y="12988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DCA48CF-212B-4821-8F41-DCC657DD7E06}"/>
                </a:ext>
              </a:extLst>
            </p:cNvPr>
            <p:cNvSpPr/>
            <p:nvPr/>
          </p:nvSpPr>
          <p:spPr>
            <a:xfrm>
              <a:off x="3717846" y="2379625"/>
              <a:ext cx="96663" cy="134262"/>
            </a:xfrm>
            <a:custGeom>
              <a:avLst/>
              <a:gdLst>
                <a:gd name="connsiteX0" fmla="*/ 10463 w 96663"/>
                <a:gd name="connsiteY0" fmla="*/ 7246 h 134262"/>
                <a:gd name="connsiteX1" fmla="*/ 96522 w 96663"/>
                <a:gd name="connsiteY1" fmla="*/ 42908 h 134262"/>
                <a:gd name="connsiteX2" fmla="*/ 9314 w 96663"/>
                <a:gd name="connsiteY2" fmla="*/ 134263 h 134262"/>
                <a:gd name="connsiteX3" fmla="*/ 0 w 96663"/>
                <a:gd name="connsiteY3" fmla="*/ 55093 h 134262"/>
                <a:gd name="connsiteX4" fmla="*/ 10463 w 96663"/>
                <a:gd name="connsiteY4" fmla="*/ 7246 h 13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663" h="134262">
                  <a:moveTo>
                    <a:pt x="10463" y="7246"/>
                  </a:moveTo>
                  <a:cubicBezTo>
                    <a:pt x="10463" y="7246"/>
                    <a:pt x="91993" y="-23886"/>
                    <a:pt x="96522" y="42908"/>
                  </a:cubicBezTo>
                  <a:cubicBezTo>
                    <a:pt x="100733" y="105364"/>
                    <a:pt x="9314" y="134263"/>
                    <a:pt x="9314" y="134263"/>
                  </a:cubicBezTo>
                  <a:lnTo>
                    <a:pt x="0" y="55093"/>
                  </a:lnTo>
                  <a:lnTo>
                    <a:pt x="10463" y="7246"/>
                  </a:lnTo>
                  <a:close/>
                </a:path>
              </a:pathLst>
            </a:custGeom>
            <a:solidFill>
              <a:schemeClr val="bg1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25632FF-718E-41B2-BE5D-0AE3C2DC3D33}"/>
                </a:ext>
              </a:extLst>
            </p:cNvPr>
            <p:cNvSpPr/>
            <p:nvPr/>
          </p:nvSpPr>
          <p:spPr>
            <a:xfrm>
              <a:off x="3735584" y="2393201"/>
              <a:ext cx="60985" cy="71628"/>
            </a:xfrm>
            <a:custGeom>
              <a:avLst/>
              <a:gdLst>
                <a:gd name="connsiteX0" fmla="*/ 15563 w 60985"/>
                <a:gd name="connsiteY0" fmla="*/ 71629 h 71628"/>
                <a:gd name="connsiteX1" fmla="*/ 22708 w 60985"/>
                <a:gd name="connsiteY1" fmla="*/ 63080 h 71628"/>
                <a:gd name="connsiteX2" fmla="*/ 28450 w 60985"/>
                <a:gd name="connsiteY2" fmla="*/ 53830 h 71628"/>
                <a:gd name="connsiteX3" fmla="*/ 30619 w 60985"/>
                <a:gd name="connsiteY3" fmla="*/ 48982 h 71628"/>
                <a:gd name="connsiteX4" fmla="*/ 32214 w 60985"/>
                <a:gd name="connsiteY4" fmla="*/ 44069 h 71628"/>
                <a:gd name="connsiteX5" fmla="*/ 33363 w 60985"/>
                <a:gd name="connsiteY5" fmla="*/ 39157 h 71628"/>
                <a:gd name="connsiteX6" fmla="*/ 33363 w 60985"/>
                <a:gd name="connsiteY6" fmla="*/ 34181 h 71628"/>
                <a:gd name="connsiteX7" fmla="*/ 33426 w 60985"/>
                <a:gd name="connsiteY7" fmla="*/ 32140 h 71628"/>
                <a:gd name="connsiteX8" fmla="*/ 32916 w 60985"/>
                <a:gd name="connsiteY8" fmla="*/ 29396 h 71628"/>
                <a:gd name="connsiteX9" fmla="*/ 31385 w 60985"/>
                <a:gd name="connsiteY9" fmla="*/ 25824 h 71628"/>
                <a:gd name="connsiteX10" fmla="*/ 28769 w 60985"/>
                <a:gd name="connsiteY10" fmla="*/ 22889 h 71628"/>
                <a:gd name="connsiteX11" fmla="*/ 25133 w 60985"/>
                <a:gd name="connsiteY11" fmla="*/ 20848 h 71628"/>
                <a:gd name="connsiteX12" fmla="*/ 15819 w 60985"/>
                <a:gd name="connsiteY12" fmla="*/ 19125 h 71628"/>
                <a:gd name="connsiteX13" fmla="*/ 5803 w 60985"/>
                <a:gd name="connsiteY13" fmla="*/ 19572 h 71628"/>
                <a:gd name="connsiteX14" fmla="*/ 5548 w 60985"/>
                <a:gd name="connsiteY14" fmla="*/ 19572 h 71628"/>
                <a:gd name="connsiteX15" fmla="*/ 61 w 60985"/>
                <a:gd name="connsiteY15" fmla="*/ 15617 h 71628"/>
                <a:gd name="connsiteX16" fmla="*/ 2230 w 60985"/>
                <a:gd name="connsiteY16" fmla="*/ 10768 h 71628"/>
                <a:gd name="connsiteX17" fmla="*/ 18753 w 60985"/>
                <a:gd name="connsiteY17" fmla="*/ 2985 h 71628"/>
                <a:gd name="connsiteX18" fmla="*/ 27685 w 60985"/>
                <a:gd name="connsiteY18" fmla="*/ 689 h 71628"/>
                <a:gd name="connsiteX19" fmla="*/ 37126 w 60985"/>
                <a:gd name="connsiteY19" fmla="*/ 51 h 71628"/>
                <a:gd name="connsiteX20" fmla="*/ 41911 w 60985"/>
                <a:gd name="connsiteY20" fmla="*/ 625 h 71628"/>
                <a:gd name="connsiteX21" fmla="*/ 46568 w 60985"/>
                <a:gd name="connsiteY21" fmla="*/ 2028 h 71628"/>
                <a:gd name="connsiteX22" fmla="*/ 50906 w 60985"/>
                <a:gd name="connsiteY22" fmla="*/ 4325 h 71628"/>
                <a:gd name="connsiteX23" fmla="*/ 54543 w 60985"/>
                <a:gd name="connsiteY23" fmla="*/ 7515 h 71628"/>
                <a:gd name="connsiteX24" fmla="*/ 57350 w 60985"/>
                <a:gd name="connsiteY24" fmla="*/ 11342 h 71628"/>
                <a:gd name="connsiteX25" fmla="*/ 59136 w 60985"/>
                <a:gd name="connsiteY25" fmla="*/ 15553 h 71628"/>
                <a:gd name="connsiteX26" fmla="*/ 60986 w 60985"/>
                <a:gd name="connsiteY26" fmla="*/ 24229 h 71628"/>
                <a:gd name="connsiteX27" fmla="*/ 57030 w 60985"/>
                <a:gd name="connsiteY27" fmla="*/ 16573 h 71628"/>
                <a:gd name="connsiteX28" fmla="*/ 54606 w 60985"/>
                <a:gd name="connsiteY28" fmla="*/ 13256 h 71628"/>
                <a:gd name="connsiteX29" fmla="*/ 51608 w 60985"/>
                <a:gd name="connsiteY29" fmla="*/ 10704 h 71628"/>
                <a:gd name="connsiteX30" fmla="*/ 48290 w 60985"/>
                <a:gd name="connsiteY30" fmla="*/ 8854 h 71628"/>
                <a:gd name="connsiteX31" fmla="*/ 44782 w 60985"/>
                <a:gd name="connsiteY31" fmla="*/ 7642 h 71628"/>
                <a:gd name="connsiteX32" fmla="*/ 41018 w 60985"/>
                <a:gd name="connsiteY32" fmla="*/ 7132 h 71628"/>
                <a:gd name="connsiteX33" fmla="*/ 37190 w 60985"/>
                <a:gd name="connsiteY33" fmla="*/ 7196 h 71628"/>
                <a:gd name="connsiteX34" fmla="*/ 29471 w 60985"/>
                <a:gd name="connsiteY34" fmla="*/ 8599 h 71628"/>
                <a:gd name="connsiteX35" fmla="*/ 21816 w 60985"/>
                <a:gd name="connsiteY35" fmla="*/ 11279 h 71628"/>
                <a:gd name="connsiteX36" fmla="*/ 7462 w 60985"/>
                <a:gd name="connsiteY36" fmla="*/ 18870 h 71628"/>
                <a:gd name="connsiteX37" fmla="*/ 3889 w 60985"/>
                <a:gd name="connsiteY37" fmla="*/ 10130 h 71628"/>
                <a:gd name="connsiteX38" fmla="*/ 16202 w 60985"/>
                <a:gd name="connsiteY38" fmla="*/ 9301 h 71628"/>
                <a:gd name="connsiteX39" fmla="*/ 28705 w 60985"/>
                <a:gd name="connsiteY39" fmla="*/ 11980 h 71628"/>
                <a:gd name="connsiteX40" fmla="*/ 34639 w 60985"/>
                <a:gd name="connsiteY40" fmla="*/ 15617 h 71628"/>
                <a:gd name="connsiteX41" fmla="*/ 39104 w 60985"/>
                <a:gd name="connsiteY41" fmla="*/ 21294 h 71628"/>
                <a:gd name="connsiteX42" fmla="*/ 41337 w 60985"/>
                <a:gd name="connsiteY42" fmla="*/ 28121 h 71628"/>
                <a:gd name="connsiteX43" fmla="*/ 41656 w 60985"/>
                <a:gd name="connsiteY43" fmla="*/ 30864 h 71628"/>
                <a:gd name="connsiteX44" fmla="*/ 41401 w 60985"/>
                <a:gd name="connsiteY44" fmla="*/ 34372 h 71628"/>
                <a:gd name="connsiteX45" fmla="*/ 40635 w 60985"/>
                <a:gd name="connsiteY45" fmla="*/ 40561 h 71628"/>
                <a:gd name="connsiteX46" fmla="*/ 38530 w 60985"/>
                <a:gd name="connsiteY46" fmla="*/ 46302 h 71628"/>
                <a:gd name="connsiteX47" fmla="*/ 35851 w 60985"/>
                <a:gd name="connsiteY47" fmla="*/ 51661 h 71628"/>
                <a:gd name="connsiteX48" fmla="*/ 32597 w 60985"/>
                <a:gd name="connsiteY48" fmla="*/ 56573 h 71628"/>
                <a:gd name="connsiteX49" fmla="*/ 24559 w 60985"/>
                <a:gd name="connsiteY49" fmla="*/ 64930 h 71628"/>
                <a:gd name="connsiteX50" fmla="*/ 15563 w 60985"/>
                <a:gd name="connsiteY50" fmla="*/ 71629 h 71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985" h="71628">
                  <a:moveTo>
                    <a:pt x="15563" y="71629"/>
                  </a:moveTo>
                  <a:cubicBezTo>
                    <a:pt x="18115" y="68886"/>
                    <a:pt x="20540" y="66079"/>
                    <a:pt x="22708" y="63080"/>
                  </a:cubicBezTo>
                  <a:cubicBezTo>
                    <a:pt x="24942" y="60146"/>
                    <a:pt x="26728" y="56956"/>
                    <a:pt x="28450" y="53830"/>
                  </a:cubicBezTo>
                  <a:cubicBezTo>
                    <a:pt x="29407" y="52299"/>
                    <a:pt x="29854" y="50577"/>
                    <a:pt x="30619" y="48982"/>
                  </a:cubicBezTo>
                  <a:cubicBezTo>
                    <a:pt x="31321" y="47387"/>
                    <a:pt x="31959" y="45792"/>
                    <a:pt x="32214" y="44069"/>
                  </a:cubicBezTo>
                  <a:lnTo>
                    <a:pt x="33363" y="39157"/>
                  </a:lnTo>
                  <a:lnTo>
                    <a:pt x="33363" y="34181"/>
                  </a:lnTo>
                  <a:lnTo>
                    <a:pt x="33426" y="32140"/>
                  </a:lnTo>
                  <a:lnTo>
                    <a:pt x="32916" y="29396"/>
                  </a:lnTo>
                  <a:cubicBezTo>
                    <a:pt x="32469" y="27483"/>
                    <a:pt x="32150" y="27100"/>
                    <a:pt x="31385" y="25824"/>
                  </a:cubicBezTo>
                  <a:cubicBezTo>
                    <a:pt x="30747" y="24676"/>
                    <a:pt x="29790" y="23782"/>
                    <a:pt x="28769" y="22889"/>
                  </a:cubicBezTo>
                  <a:cubicBezTo>
                    <a:pt x="27685" y="22060"/>
                    <a:pt x="26473" y="21422"/>
                    <a:pt x="25133" y="20848"/>
                  </a:cubicBezTo>
                  <a:cubicBezTo>
                    <a:pt x="22390" y="19763"/>
                    <a:pt x="19136" y="19253"/>
                    <a:pt x="15819" y="19125"/>
                  </a:cubicBezTo>
                  <a:cubicBezTo>
                    <a:pt x="12565" y="18934"/>
                    <a:pt x="8929" y="19062"/>
                    <a:pt x="5803" y="19572"/>
                  </a:cubicBezTo>
                  <a:lnTo>
                    <a:pt x="5548" y="19572"/>
                  </a:lnTo>
                  <a:cubicBezTo>
                    <a:pt x="2932" y="20018"/>
                    <a:pt x="508" y="18232"/>
                    <a:pt x="61" y="15617"/>
                  </a:cubicBezTo>
                  <a:cubicBezTo>
                    <a:pt x="-258" y="13639"/>
                    <a:pt x="699" y="11789"/>
                    <a:pt x="2230" y="10768"/>
                  </a:cubicBezTo>
                  <a:cubicBezTo>
                    <a:pt x="7589" y="7387"/>
                    <a:pt x="12948" y="4963"/>
                    <a:pt x="18753" y="2985"/>
                  </a:cubicBezTo>
                  <a:cubicBezTo>
                    <a:pt x="21688" y="2092"/>
                    <a:pt x="24623" y="1199"/>
                    <a:pt x="27685" y="689"/>
                  </a:cubicBezTo>
                  <a:cubicBezTo>
                    <a:pt x="30747" y="242"/>
                    <a:pt x="33873" y="-141"/>
                    <a:pt x="37126" y="51"/>
                  </a:cubicBezTo>
                  <a:cubicBezTo>
                    <a:pt x="38721" y="-13"/>
                    <a:pt x="40316" y="178"/>
                    <a:pt x="41911" y="625"/>
                  </a:cubicBezTo>
                  <a:cubicBezTo>
                    <a:pt x="43506" y="880"/>
                    <a:pt x="45101" y="1327"/>
                    <a:pt x="46568" y="2028"/>
                  </a:cubicBezTo>
                  <a:cubicBezTo>
                    <a:pt x="48099" y="2666"/>
                    <a:pt x="49630" y="3177"/>
                    <a:pt x="50906" y="4325"/>
                  </a:cubicBezTo>
                  <a:cubicBezTo>
                    <a:pt x="52182" y="5346"/>
                    <a:pt x="53649" y="6175"/>
                    <a:pt x="54543" y="7515"/>
                  </a:cubicBezTo>
                  <a:lnTo>
                    <a:pt x="57350" y="11342"/>
                  </a:lnTo>
                  <a:lnTo>
                    <a:pt x="59136" y="15553"/>
                  </a:lnTo>
                  <a:cubicBezTo>
                    <a:pt x="60412" y="18296"/>
                    <a:pt x="60412" y="21422"/>
                    <a:pt x="60986" y="24229"/>
                  </a:cubicBezTo>
                  <a:cubicBezTo>
                    <a:pt x="59582" y="21613"/>
                    <a:pt x="58689" y="18870"/>
                    <a:pt x="57030" y="16573"/>
                  </a:cubicBezTo>
                  <a:lnTo>
                    <a:pt x="54606" y="13256"/>
                  </a:lnTo>
                  <a:lnTo>
                    <a:pt x="51608" y="10704"/>
                  </a:lnTo>
                  <a:cubicBezTo>
                    <a:pt x="50715" y="9748"/>
                    <a:pt x="49311" y="9492"/>
                    <a:pt x="48290" y="8854"/>
                  </a:cubicBezTo>
                  <a:cubicBezTo>
                    <a:pt x="47270" y="8089"/>
                    <a:pt x="45930" y="8025"/>
                    <a:pt x="44782" y="7642"/>
                  </a:cubicBezTo>
                  <a:cubicBezTo>
                    <a:pt x="43634" y="7259"/>
                    <a:pt x="42358" y="7196"/>
                    <a:pt x="41018" y="7132"/>
                  </a:cubicBezTo>
                  <a:cubicBezTo>
                    <a:pt x="39806" y="7004"/>
                    <a:pt x="38530" y="7004"/>
                    <a:pt x="37190" y="7196"/>
                  </a:cubicBezTo>
                  <a:cubicBezTo>
                    <a:pt x="34639" y="7259"/>
                    <a:pt x="32023" y="7961"/>
                    <a:pt x="29471" y="8599"/>
                  </a:cubicBezTo>
                  <a:cubicBezTo>
                    <a:pt x="26919" y="9365"/>
                    <a:pt x="24367" y="10258"/>
                    <a:pt x="21816" y="11279"/>
                  </a:cubicBezTo>
                  <a:cubicBezTo>
                    <a:pt x="16903" y="13384"/>
                    <a:pt x="11864" y="16127"/>
                    <a:pt x="7462" y="18870"/>
                  </a:cubicBezTo>
                  <a:lnTo>
                    <a:pt x="3889" y="10130"/>
                  </a:lnTo>
                  <a:cubicBezTo>
                    <a:pt x="8163" y="9365"/>
                    <a:pt x="11991" y="9110"/>
                    <a:pt x="16202" y="9301"/>
                  </a:cubicBezTo>
                  <a:cubicBezTo>
                    <a:pt x="20285" y="9556"/>
                    <a:pt x="24559" y="10322"/>
                    <a:pt x="28705" y="11980"/>
                  </a:cubicBezTo>
                  <a:cubicBezTo>
                    <a:pt x="30811" y="12873"/>
                    <a:pt x="32788" y="14086"/>
                    <a:pt x="34639" y="15617"/>
                  </a:cubicBezTo>
                  <a:cubicBezTo>
                    <a:pt x="36425" y="17275"/>
                    <a:pt x="38020" y="19125"/>
                    <a:pt x="39104" y="21294"/>
                  </a:cubicBezTo>
                  <a:cubicBezTo>
                    <a:pt x="40252" y="23208"/>
                    <a:pt x="41145" y="26398"/>
                    <a:pt x="41337" y="28121"/>
                  </a:cubicBezTo>
                  <a:lnTo>
                    <a:pt x="41656" y="30864"/>
                  </a:lnTo>
                  <a:cubicBezTo>
                    <a:pt x="41720" y="32650"/>
                    <a:pt x="41528" y="33160"/>
                    <a:pt x="41401" y="34372"/>
                  </a:cubicBezTo>
                  <a:lnTo>
                    <a:pt x="40635" y="40561"/>
                  </a:lnTo>
                  <a:lnTo>
                    <a:pt x="38530" y="46302"/>
                  </a:lnTo>
                  <a:cubicBezTo>
                    <a:pt x="37956" y="48280"/>
                    <a:pt x="36935" y="50002"/>
                    <a:pt x="35851" y="51661"/>
                  </a:cubicBezTo>
                  <a:cubicBezTo>
                    <a:pt x="34766" y="53320"/>
                    <a:pt x="33873" y="55106"/>
                    <a:pt x="32597" y="56573"/>
                  </a:cubicBezTo>
                  <a:cubicBezTo>
                    <a:pt x="30173" y="59635"/>
                    <a:pt x="27430" y="62442"/>
                    <a:pt x="24559" y="64930"/>
                  </a:cubicBezTo>
                  <a:cubicBezTo>
                    <a:pt x="22007" y="67610"/>
                    <a:pt x="18881" y="69843"/>
                    <a:pt x="15563" y="71629"/>
                  </a:cubicBezTo>
                  <a:close/>
                </a:path>
              </a:pathLst>
            </a:custGeom>
            <a:solidFill>
              <a:schemeClr val="bg2">
                <a:lumMod val="6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67DD2750-DAFD-46E0-9F6E-6E847D5D611B}"/>
                </a:ext>
              </a:extLst>
            </p:cNvPr>
            <p:cNvGrpSpPr/>
            <p:nvPr/>
          </p:nvGrpSpPr>
          <p:grpSpPr>
            <a:xfrm>
              <a:off x="3129270" y="2729682"/>
              <a:ext cx="677968" cy="479604"/>
              <a:chOff x="-807752" y="2729682"/>
              <a:chExt cx="677968" cy="479604"/>
            </a:xfrm>
            <a:solidFill>
              <a:schemeClr val="accent4"/>
            </a:solidFill>
          </p:grpSpPr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BBC2B766-6215-4FFA-9B90-81A9DF6C68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807752" y="2729682"/>
                <a:ext cx="239967" cy="430685"/>
              </a:xfrm>
              <a:custGeom>
                <a:avLst/>
                <a:gdLst>
                  <a:gd name="connsiteX0" fmla="*/ 178773 w 239967"/>
                  <a:gd name="connsiteY0" fmla="*/ 2449 h 430685"/>
                  <a:gd name="connsiteX1" fmla="*/ 239967 w 239967"/>
                  <a:gd name="connsiteY1" fmla="*/ 57634 h 430685"/>
                  <a:gd name="connsiteX2" fmla="*/ 239953 w 239967"/>
                  <a:gd name="connsiteY2" fmla="*/ 57718 h 430685"/>
                  <a:gd name="connsiteX3" fmla="*/ 239266 w 239967"/>
                  <a:gd name="connsiteY3" fmla="*/ 57251 h 430685"/>
                  <a:gd name="connsiteX4" fmla="*/ 152249 w 239967"/>
                  <a:gd name="connsiteY4" fmla="*/ 235941 h 430685"/>
                  <a:gd name="connsiteX5" fmla="*/ 118837 w 239967"/>
                  <a:gd name="connsiteY5" fmla="*/ 424755 h 430685"/>
                  <a:gd name="connsiteX6" fmla="*/ 118128 w 239967"/>
                  <a:gd name="connsiteY6" fmla="*/ 430685 h 430685"/>
                  <a:gd name="connsiteX7" fmla="*/ 100886 w 239967"/>
                  <a:gd name="connsiteY7" fmla="*/ 425225 h 430685"/>
                  <a:gd name="connsiteX8" fmla="*/ 0 w 239967"/>
                  <a:gd name="connsiteY8" fmla="*/ 369366 h 430685"/>
                  <a:gd name="connsiteX9" fmla="*/ 27276 w 239967"/>
                  <a:gd name="connsiteY9" fmla="*/ 310250 h 430685"/>
                  <a:gd name="connsiteX10" fmla="*/ 155693 w 239967"/>
                  <a:gd name="connsiteY10" fmla="*/ 30074 h 430685"/>
                  <a:gd name="connsiteX11" fmla="*/ 178773 w 239967"/>
                  <a:gd name="connsiteY11" fmla="*/ 2449 h 430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967" h="430685">
                    <a:moveTo>
                      <a:pt x="178773" y="2449"/>
                    </a:moveTo>
                    <a:cubicBezTo>
                      <a:pt x="194380" y="-9199"/>
                      <a:pt x="194369" y="22611"/>
                      <a:pt x="239967" y="57634"/>
                    </a:cubicBezTo>
                    <a:lnTo>
                      <a:pt x="239953" y="57718"/>
                    </a:lnTo>
                    <a:lnTo>
                      <a:pt x="239266" y="57251"/>
                    </a:lnTo>
                    <a:cubicBezTo>
                      <a:pt x="239266" y="57251"/>
                      <a:pt x="173588" y="162758"/>
                      <a:pt x="152249" y="235941"/>
                    </a:cubicBezTo>
                    <a:cubicBezTo>
                      <a:pt x="138912" y="281681"/>
                      <a:pt x="126449" y="364416"/>
                      <a:pt x="118837" y="424755"/>
                    </a:cubicBezTo>
                    <a:lnTo>
                      <a:pt x="118128" y="430685"/>
                    </a:lnTo>
                    <a:lnTo>
                      <a:pt x="100886" y="425225"/>
                    </a:lnTo>
                    <a:lnTo>
                      <a:pt x="0" y="369366"/>
                    </a:lnTo>
                    <a:lnTo>
                      <a:pt x="27276" y="310250"/>
                    </a:lnTo>
                    <a:cubicBezTo>
                      <a:pt x="76560" y="196501"/>
                      <a:pt x="122872" y="75166"/>
                      <a:pt x="155693" y="30074"/>
                    </a:cubicBezTo>
                    <a:cubicBezTo>
                      <a:pt x="166634" y="15044"/>
                      <a:pt x="173571" y="6332"/>
                      <a:pt x="178773" y="2449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FEADA68F-8386-4B6F-AF24-26A5AF18B1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331133" y="2749236"/>
                <a:ext cx="201349" cy="419758"/>
              </a:xfrm>
              <a:custGeom>
                <a:avLst/>
                <a:gdLst>
                  <a:gd name="connsiteX0" fmla="*/ 55983 w 201349"/>
                  <a:gd name="connsiteY0" fmla="*/ 22 h 419758"/>
                  <a:gd name="connsiteX1" fmla="*/ 83793 w 201349"/>
                  <a:gd name="connsiteY1" fmla="*/ 10902 h 419758"/>
                  <a:gd name="connsiteX2" fmla="*/ 184167 w 201349"/>
                  <a:gd name="connsiteY2" fmla="*/ 324099 h 419758"/>
                  <a:gd name="connsiteX3" fmla="*/ 201349 w 201349"/>
                  <a:gd name="connsiteY3" fmla="*/ 378541 h 419758"/>
                  <a:gd name="connsiteX4" fmla="*/ 152350 w 201349"/>
                  <a:gd name="connsiteY4" fmla="*/ 405671 h 419758"/>
                  <a:gd name="connsiteX5" fmla="*/ 107863 w 201349"/>
                  <a:gd name="connsiteY5" fmla="*/ 419758 h 419758"/>
                  <a:gd name="connsiteX6" fmla="*/ 104155 w 201349"/>
                  <a:gd name="connsiteY6" fmla="*/ 377446 h 419758"/>
                  <a:gd name="connsiteX7" fmla="*/ 67270 w 201349"/>
                  <a:gd name="connsiteY7" fmla="*/ 147744 h 419758"/>
                  <a:gd name="connsiteX8" fmla="*/ 4821 w 201349"/>
                  <a:gd name="connsiteY8" fmla="*/ 30858 h 419758"/>
                  <a:gd name="connsiteX9" fmla="*/ 0 w 201349"/>
                  <a:gd name="connsiteY9" fmla="*/ 23647 h 419758"/>
                  <a:gd name="connsiteX10" fmla="*/ 29 w 201349"/>
                  <a:gd name="connsiteY10" fmla="*/ 23087 h 419758"/>
                  <a:gd name="connsiteX11" fmla="*/ 55983 w 201349"/>
                  <a:gd name="connsiteY11" fmla="*/ 22 h 419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349" h="419758">
                    <a:moveTo>
                      <a:pt x="55983" y="22"/>
                    </a:moveTo>
                    <a:cubicBezTo>
                      <a:pt x="65471" y="300"/>
                      <a:pt x="75069" y="3327"/>
                      <a:pt x="83793" y="10902"/>
                    </a:cubicBezTo>
                    <a:cubicBezTo>
                      <a:pt x="95316" y="20870"/>
                      <a:pt x="138167" y="174689"/>
                      <a:pt x="184167" y="324099"/>
                    </a:cubicBezTo>
                    <a:lnTo>
                      <a:pt x="201349" y="378541"/>
                    </a:lnTo>
                    <a:lnTo>
                      <a:pt x="152350" y="405671"/>
                    </a:lnTo>
                    <a:lnTo>
                      <a:pt x="107863" y="419758"/>
                    </a:lnTo>
                    <a:lnTo>
                      <a:pt x="104155" y="377446"/>
                    </a:lnTo>
                    <a:cubicBezTo>
                      <a:pt x="94875" y="283407"/>
                      <a:pt x="79152" y="173940"/>
                      <a:pt x="67270" y="147744"/>
                    </a:cubicBezTo>
                    <a:cubicBezTo>
                      <a:pt x="39950" y="87314"/>
                      <a:pt x="15393" y="47158"/>
                      <a:pt x="4821" y="30858"/>
                    </a:cubicBezTo>
                    <a:lnTo>
                      <a:pt x="0" y="23647"/>
                    </a:lnTo>
                    <a:lnTo>
                      <a:pt x="29" y="23087"/>
                    </a:lnTo>
                    <a:cubicBezTo>
                      <a:pt x="29" y="23087"/>
                      <a:pt x="27517" y="-812"/>
                      <a:pt x="55983" y="22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8F9A3A08-436B-433E-B58A-3B15D8A174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642990" y="2771877"/>
                <a:ext cx="398648" cy="437409"/>
              </a:xfrm>
              <a:custGeom>
                <a:avLst/>
                <a:gdLst>
                  <a:gd name="connsiteX0" fmla="*/ 311185 w 398648"/>
                  <a:gd name="connsiteY0" fmla="*/ 0 h 437409"/>
                  <a:gd name="connsiteX1" fmla="*/ 311857 w 398648"/>
                  <a:gd name="connsiteY1" fmla="*/ 1006 h 437409"/>
                  <a:gd name="connsiteX2" fmla="*/ 311196 w 398648"/>
                  <a:gd name="connsiteY2" fmla="*/ 13802 h 437409"/>
                  <a:gd name="connsiteX3" fmla="*/ 318776 w 398648"/>
                  <a:gd name="connsiteY3" fmla="*/ 329311 h 437409"/>
                  <a:gd name="connsiteX4" fmla="*/ 377799 w 398648"/>
                  <a:gd name="connsiteY4" fmla="*/ 374186 h 437409"/>
                  <a:gd name="connsiteX5" fmla="*/ 398648 w 398648"/>
                  <a:gd name="connsiteY5" fmla="*/ 403790 h 437409"/>
                  <a:gd name="connsiteX6" fmla="*/ 336875 w 398648"/>
                  <a:gd name="connsiteY6" fmla="*/ 423350 h 437409"/>
                  <a:gd name="connsiteX7" fmla="*/ 200165 w 398648"/>
                  <a:gd name="connsiteY7" fmla="*/ 437409 h 437409"/>
                  <a:gd name="connsiteX8" fmla="*/ 63455 w 398648"/>
                  <a:gd name="connsiteY8" fmla="*/ 423350 h 437409"/>
                  <a:gd name="connsiteX9" fmla="*/ 0 w 398648"/>
                  <a:gd name="connsiteY9" fmla="*/ 403257 h 437409"/>
                  <a:gd name="connsiteX10" fmla="*/ 541 w 398648"/>
                  <a:gd name="connsiteY10" fmla="*/ 401592 h 437409"/>
                  <a:gd name="connsiteX11" fmla="*/ 74553 w 398648"/>
                  <a:gd name="connsiteY11" fmla="*/ 19458 h 437409"/>
                  <a:gd name="connsiteX12" fmla="*/ 75191 w 398648"/>
                  <a:gd name="connsiteY12" fmla="*/ 15523 h 437409"/>
                  <a:gd name="connsiteX13" fmla="*/ 185316 w 398648"/>
                  <a:gd name="connsiteY13" fmla="*/ 90398 h 437409"/>
                  <a:gd name="connsiteX14" fmla="*/ 311185 w 398648"/>
                  <a:gd name="connsiteY14" fmla="*/ 0 h 437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8648" h="437409">
                    <a:moveTo>
                      <a:pt x="311185" y="0"/>
                    </a:moveTo>
                    <a:lnTo>
                      <a:pt x="311857" y="1006"/>
                    </a:lnTo>
                    <a:lnTo>
                      <a:pt x="311196" y="13802"/>
                    </a:lnTo>
                    <a:cubicBezTo>
                      <a:pt x="309217" y="66213"/>
                      <a:pt x="305547" y="255348"/>
                      <a:pt x="318776" y="329311"/>
                    </a:cubicBezTo>
                    <a:cubicBezTo>
                      <a:pt x="338234" y="330029"/>
                      <a:pt x="357815" y="348375"/>
                      <a:pt x="377799" y="374186"/>
                    </a:cubicBezTo>
                    <a:lnTo>
                      <a:pt x="398648" y="403790"/>
                    </a:lnTo>
                    <a:lnTo>
                      <a:pt x="336875" y="423350"/>
                    </a:lnTo>
                    <a:cubicBezTo>
                      <a:pt x="292716" y="432568"/>
                      <a:pt x="246995" y="437409"/>
                      <a:pt x="200165" y="437409"/>
                    </a:cubicBezTo>
                    <a:cubicBezTo>
                      <a:pt x="153335" y="437409"/>
                      <a:pt x="107614" y="432568"/>
                      <a:pt x="63455" y="423350"/>
                    </a:cubicBezTo>
                    <a:lnTo>
                      <a:pt x="0" y="403257"/>
                    </a:lnTo>
                    <a:lnTo>
                      <a:pt x="541" y="401592"/>
                    </a:lnTo>
                    <a:cubicBezTo>
                      <a:pt x="29075" y="296416"/>
                      <a:pt x="68996" y="53609"/>
                      <a:pt x="74553" y="19458"/>
                    </a:cubicBezTo>
                    <a:lnTo>
                      <a:pt x="75191" y="15523"/>
                    </a:lnTo>
                    <a:lnTo>
                      <a:pt x="185316" y="90398"/>
                    </a:lnTo>
                    <a:lnTo>
                      <a:pt x="311185" y="0"/>
                    </a:ln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00B2DF5B-65CC-4526-B2C4-5C2995691BB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333807" y="2772883"/>
                <a:ext cx="110537" cy="402784"/>
              </a:xfrm>
              <a:custGeom>
                <a:avLst/>
                <a:gdLst>
                  <a:gd name="connsiteX0" fmla="*/ 2674 w 110537"/>
                  <a:gd name="connsiteY0" fmla="*/ 0 h 402784"/>
                  <a:gd name="connsiteX1" fmla="*/ 7495 w 110537"/>
                  <a:gd name="connsiteY1" fmla="*/ 7211 h 402784"/>
                  <a:gd name="connsiteX2" fmla="*/ 69944 w 110537"/>
                  <a:gd name="connsiteY2" fmla="*/ 124097 h 402784"/>
                  <a:gd name="connsiteX3" fmla="*/ 106829 w 110537"/>
                  <a:gd name="connsiteY3" fmla="*/ 353799 h 402784"/>
                  <a:gd name="connsiteX4" fmla="*/ 110537 w 110537"/>
                  <a:gd name="connsiteY4" fmla="*/ 396111 h 402784"/>
                  <a:gd name="connsiteX5" fmla="*/ 89465 w 110537"/>
                  <a:gd name="connsiteY5" fmla="*/ 402784 h 402784"/>
                  <a:gd name="connsiteX6" fmla="*/ 68616 w 110537"/>
                  <a:gd name="connsiteY6" fmla="*/ 373180 h 402784"/>
                  <a:gd name="connsiteX7" fmla="*/ 9593 w 110537"/>
                  <a:gd name="connsiteY7" fmla="*/ 328305 h 402784"/>
                  <a:gd name="connsiteX8" fmla="*/ 2013 w 110537"/>
                  <a:gd name="connsiteY8" fmla="*/ 12796 h 402784"/>
                  <a:gd name="connsiteX9" fmla="*/ 2674 w 110537"/>
                  <a:gd name="connsiteY9" fmla="*/ 0 h 40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0537" h="402784">
                    <a:moveTo>
                      <a:pt x="2674" y="0"/>
                    </a:moveTo>
                    <a:lnTo>
                      <a:pt x="7495" y="7211"/>
                    </a:lnTo>
                    <a:cubicBezTo>
                      <a:pt x="18067" y="23511"/>
                      <a:pt x="42624" y="63667"/>
                      <a:pt x="69944" y="124097"/>
                    </a:cubicBezTo>
                    <a:cubicBezTo>
                      <a:pt x="81826" y="150293"/>
                      <a:pt x="97549" y="259760"/>
                      <a:pt x="106829" y="353799"/>
                    </a:cubicBezTo>
                    <a:lnTo>
                      <a:pt x="110537" y="396111"/>
                    </a:lnTo>
                    <a:lnTo>
                      <a:pt x="89465" y="402784"/>
                    </a:lnTo>
                    <a:lnTo>
                      <a:pt x="68616" y="373180"/>
                    </a:lnTo>
                    <a:cubicBezTo>
                      <a:pt x="48632" y="347369"/>
                      <a:pt x="29051" y="329023"/>
                      <a:pt x="9593" y="328305"/>
                    </a:cubicBezTo>
                    <a:cubicBezTo>
                      <a:pt x="-3636" y="254342"/>
                      <a:pt x="34" y="65207"/>
                      <a:pt x="2013" y="12796"/>
                    </a:cubicBezTo>
                    <a:lnTo>
                      <a:pt x="2674" y="0"/>
                    </a:ln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B1178503-068A-4D89-8B15-3002141AB6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689624" y="2786933"/>
                <a:ext cx="121825" cy="388201"/>
              </a:xfrm>
              <a:custGeom>
                <a:avLst/>
                <a:gdLst>
                  <a:gd name="connsiteX0" fmla="*/ 121138 w 121825"/>
                  <a:gd name="connsiteY0" fmla="*/ 0 h 388201"/>
                  <a:gd name="connsiteX1" fmla="*/ 121825 w 121825"/>
                  <a:gd name="connsiteY1" fmla="*/ 467 h 388201"/>
                  <a:gd name="connsiteX2" fmla="*/ 121187 w 121825"/>
                  <a:gd name="connsiteY2" fmla="*/ 4402 h 388201"/>
                  <a:gd name="connsiteX3" fmla="*/ 47175 w 121825"/>
                  <a:gd name="connsiteY3" fmla="*/ 386536 h 388201"/>
                  <a:gd name="connsiteX4" fmla="*/ 46634 w 121825"/>
                  <a:gd name="connsiteY4" fmla="*/ 388201 h 388201"/>
                  <a:gd name="connsiteX5" fmla="*/ 0 w 121825"/>
                  <a:gd name="connsiteY5" fmla="*/ 373434 h 388201"/>
                  <a:gd name="connsiteX6" fmla="*/ 709 w 121825"/>
                  <a:gd name="connsiteY6" fmla="*/ 367504 h 388201"/>
                  <a:gd name="connsiteX7" fmla="*/ 34121 w 121825"/>
                  <a:gd name="connsiteY7" fmla="*/ 178690 h 388201"/>
                  <a:gd name="connsiteX8" fmla="*/ 121138 w 121825"/>
                  <a:gd name="connsiteY8" fmla="*/ 0 h 388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825" h="388201">
                    <a:moveTo>
                      <a:pt x="121138" y="0"/>
                    </a:moveTo>
                    <a:lnTo>
                      <a:pt x="121825" y="467"/>
                    </a:lnTo>
                    <a:lnTo>
                      <a:pt x="121187" y="4402"/>
                    </a:lnTo>
                    <a:cubicBezTo>
                      <a:pt x="115630" y="38553"/>
                      <a:pt x="75709" y="281360"/>
                      <a:pt x="47175" y="386536"/>
                    </a:cubicBezTo>
                    <a:lnTo>
                      <a:pt x="46634" y="388201"/>
                    </a:lnTo>
                    <a:lnTo>
                      <a:pt x="0" y="373434"/>
                    </a:lnTo>
                    <a:lnTo>
                      <a:pt x="709" y="367504"/>
                    </a:lnTo>
                    <a:cubicBezTo>
                      <a:pt x="8321" y="307165"/>
                      <a:pt x="20784" y="224430"/>
                      <a:pt x="34121" y="178690"/>
                    </a:cubicBezTo>
                    <a:cubicBezTo>
                      <a:pt x="55460" y="105507"/>
                      <a:pt x="121138" y="0"/>
                      <a:pt x="121138" y="0"/>
                    </a:cubicBez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78C301DE-F0CF-4F63-B267-99B9C5436997}"/>
                </a:ext>
              </a:extLst>
            </p:cNvPr>
            <p:cNvSpPr/>
            <p:nvPr/>
          </p:nvSpPr>
          <p:spPr>
            <a:xfrm>
              <a:off x="3439380" y="2803647"/>
              <a:ext cx="90398" cy="58868"/>
            </a:xfrm>
            <a:custGeom>
              <a:avLst/>
              <a:gdLst>
                <a:gd name="connsiteX0" fmla="*/ 0 w 90398"/>
                <a:gd name="connsiteY0" fmla="*/ 43508 h 58868"/>
                <a:gd name="connsiteX1" fmla="*/ 35279 w 90398"/>
                <a:gd name="connsiteY1" fmla="*/ 58628 h 58868"/>
                <a:gd name="connsiteX2" fmla="*/ 90398 w 90398"/>
                <a:gd name="connsiteY2" fmla="*/ 29282 h 58868"/>
                <a:gd name="connsiteX3" fmla="*/ 57416 w 90398"/>
                <a:gd name="connsiteY3" fmla="*/ 0 h 58868"/>
                <a:gd name="connsiteX4" fmla="*/ 22584 w 90398"/>
                <a:gd name="connsiteY4" fmla="*/ 0 h 58868"/>
                <a:gd name="connsiteX5" fmla="*/ 0 w 90398"/>
                <a:gd name="connsiteY5" fmla="*/ 43508 h 5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398" h="58868">
                  <a:moveTo>
                    <a:pt x="0" y="43508"/>
                  </a:moveTo>
                  <a:cubicBezTo>
                    <a:pt x="0" y="43508"/>
                    <a:pt x="5997" y="61116"/>
                    <a:pt x="35279" y="58628"/>
                  </a:cubicBezTo>
                  <a:cubicBezTo>
                    <a:pt x="64561" y="56140"/>
                    <a:pt x="90398" y="29282"/>
                    <a:pt x="90398" y="29282"/>
                  </a:cubicBezTo>
                  <a:lnTo>
                    <a:pt x="57416" y="0"/>
                  </a:lnTo>
                  <a:lnTo>
                    <a:pt x="22584" y="0"/>
                  </a:lnTo>
                  <a:lnTo>
                    <a:pt x="0" y="43508"/>
                  </a:lnTo>
                  <a:close/>
                </a:path>
              </a:pathLst>
            </a:custGeom>
            <a:solidFill>
              <a:srgbClr val="30979E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D7817B4B-7BDB-4DF9-AAAD-2DD9171235D6}"/>
                </a:ext>
              </a:extLst>
            </p:cNvPr>
            <p:cNvSpPr/>
            <p:nvPr/>
          </p:nvSpPr>
          <p:spPr>
            <a:xfrm>
              <a:off x="3386621" y="2765114"/>
              <a:ext cx="181178" cy="100477"/>
            </a:xfrm>
            <a:custGeom>
              <a:avLst/>
              <a:gdLst>
                <a:gd name="connsiteX0" fmla="*/ 27623 w 181178"/>
                <a:gd name="connsiteY0" fmla="*/ 3381 h 100477"/>
                <a:gd name="connsiteX1" fmla="*/ 0 w 181178"/>
                <a:gd name="connsiteY1" fmla="*/ 54417 h 100477"/>
                <a:gd name="connsiteX2" fmla="*/ 61180 w 181178"/>
                <a:gd name="connsiteY2" fmla="*/ 100478 h 100477"/>
                <a:gd name="connsiteX3" fmla="*/ 97990 w 181178"/>
                <a:gd name="connsiteY3" fmla="*/ 43572 h 100477"/>
                <a:gd name="connsiteX4" fmla="*/ 137351 w 181178"/>
                <a:gd name="connsiteY4" fmla="*/ 93779 h 100477"/>
                <a:gd name="connsiteX5" fmla="*/ 181179 w 181178"/>
                <a:gd name="connsiteY5" fmla="*/ 36810 h 100477"/>
                <a:gd name="connsiteX6" fmla="*/ 155788 w 181178"/>
                <a:gd name="connsiteY6" fmla="*/ 0 h 100477"/>
                <a:gd name="connsiteX7" fmla="*/ 97160 w 181178"/>
                <a:gd name="connsiteY7" fmla="*/ 36810 h 10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178" h="100477">
                  <a:moveTo>
                    <a:pt x="27623" y="3381"/>
                  </a:moveTo>
                  <a:lnTo>
                    <a:pt x="0" y="54417"/>
                  </a:lnTo>
                  <a:lnTo>
                    <a:pt x="61180" y="100478"/>
                  </a:lnTo>
                  <a:lnTo>
                    <a:pt x="97990" y="43572"/>
                  </a:lnTo>
                  <a:lnTo>
                    <a:pt x="137351" y="93779"/>
                  </a:lnTo>
                  <a:lnTo>
                    <a:pt x="181179" y="36810"/>
                  </a:lnTo>
                  <a:lnTo>
                    <a:pt x="155788" y="0"/>
                  </a:lnTo>
                  <a:lnTo>
                    <a:pt x="97160" y="36810"/>
                  </a:lnTo>
                  <a:close/>
                </a:path>
              </a:pathLst>
            </a:custGeom>
            <a:solidFill>
              <a:srgbClr val="3EC5CF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EA9EDACA-369C-4610-A781-954F49BA9B26}"/>
              </a:ext>
            </a:extLst>
          </p:cNvPr>
          <p:cNvGrpSpPr>
            <a:grpSpLocks/>
          </p:cNvGrpSpPr>
          <p:nvPr/>
        </p:nvGrpSpPr>
        <p:grpSpPr>
          <a:xfrm>
            <a:off x="3333991" y="2074075"/>
            <a:ext cx="804005" cy="820166"/>
            <a:chOff x="5067082" y="1825330"/>
            <a:chExt cx="1356685" cy="1383956"/>
          </a:xfrm>
        </p:grpSpPr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38FD40A9-FAF5-4075-B40D-CD042D256C49}"/>
                </a:ext>
              </a:extLst>
            </p:cNvPr>
            <p:cNvSpPr>
              <a:spLocks/>
            </p:cNvSpPr>
            <p:nvPr/>
          </p:nvSpPr>
          <p:spPr>
            <a:xfrm>
              <a:off x="5067082" y="1825330"/>
              <a:ext cx="1356685" cy="1383955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rgbClr val="D0D0D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tr-TR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AF867FAA-0F91-47E1-8C76-2704BF6AF5E6}"/>
                </a:ext>
              </a:extLst>
            </p:cNvPr>
            <p:cNvSpPr/>
            <p:nvPr/>
          </p:nvSpPr>
          <p:spPr>
            <a:xfrm>
              <a:off x="5674821" y="2725925"/>
              <a:ext cx="145580" cy="282039"/>
            </a:xfrm>
            <a:custGeom>
              <a:avLst/>
              <a:gdLst>
                <a:gd name="connsiteX0" fmla="*/ 0 w 145580"/>
                <a:gd name="connsiteY0" fmla="*/ 0 h 282039"/>
                <a:gd name="connsiteX1" fmla="*/ 145581 w 145580"/>
                <a:gd name="connsiteY1" fmla="*/ 0 h 282039"/>
                <a:gd name="connsiteX2" fmla="*/ 145581 w 145580"/>
                <a:gd name="connsiteY2" fmla="*/ 282040 h 282039"/>
                <a:gd name="connsiteX3" fmla="*/ 0 w 145580"/>
                <a:gd name="connsiteY3" fmla="*/ 282040 h 28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80" h="282039">
                  <a:moveTo>
                    <a:pt x="0" y="0"/>
                  </a:moveTo>
                  <a:lnTo>
                    <a:pt x="145581" y="0"/>
                  </a:lnTo>
                  <a:lnTo>
                    <a:pt x="145581" y="282040"/>
                  </a:lnTo>
                  <a:lnTo>
                    <a:pt x="0" y="282040"/>
                  </a:lnTo>
                  <a:close/>
                </a:path>
              </a:pathLst>
            </a:custGeom>
            <a:solidFill>
              <a:schemeClr val="tx2">
                <a:lumMod val="6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D91D37-DA9C-49CC-B8B8-AF9EB69DD3AE}"/>
                </a:ext>
              </a:extLst>
            </p:cNvPr>
            <p:cNvGrpSpPr/>
            <p:nvPr/>
          </p:nvGrpSpPr>
          <p:grpSpPr>
            <a:xfrm>
              <a:off x="5484846" y="3004700"/>
              <a:ext cx="503553" cy="204586"/>
              <a:chOff x="11484693" y="3004700"/>
              <a:chExt cx="503553" cy="204586"/>
            </a:xfrm>
            <a:solidFill>
              <a:srgbClr val="8A8A8A"/>
            </a:solidFill>
          </p:grpSpPr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84486022-266B-463D-A70A-7964BD9DAF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793509" y="3004700"/>
                <a:ext cx="194737" cy="199438"/>
              </a:xfrm>
              <a:custGeom>
                <a:avLst/>
                <a:gdLst>
                  <a:gd name="connsiteX0" fmla="*/ 58449 w 194737"/>
                  <a:gd name="connsiteY0" fmla="*/ 28 h 199438"/>
                  <a:gd name="connsiteX1" fmla="*/ 158187 w 194737"/>
                  <a:gd name="connsiteY1" fmla="*/ 12835 h 199438"/>
                  <a:gd name="connsiteX2" fmla="*/ 194295 w 194737"/>
                  <a:gd name="connsiteY2" fmla="*/ 129708 h 199438"/>
                  <a:gd name="connsiteX3" fmla="*/ 194737 w 194737"/>
                  <a:gd name="connsiteY3" fmla="*/ 141958 h 199438"/>
                  <a:gd name="connsiteX4" fmla="*/ 194270 w 194737"/>
                  <a:gd name="connsiteY4" fmla="*/ 156449 h 199438"/>
                  <a:gd name="connsiteX5" fmla="*/ 86651 w 194737"/>
                  <a:gd name="connsiteY5" fmla="*/ 190527 h 199438"/>
                  <a:gd name="connsiteX6" fmla="*/ 0 w 194737"/>
                  <a:gd name="connsiteY6" fmla="*/ 199438 h 199438"/>
                  <a:gd name="connsiteX7" fmla="*/ 34998 w 194737"/>
                  <a:gd name="connsiteY7" fmla="*/ 10091 h 199438"/>
                  <a:gd name="connsiteX8" fmla="*/ 14721 w 194737"/>
                  <a:gd name="connsiteY8" fmla="*/ 994 h 199438"/>
                  <a:gd name="connsiteX9" fmla="*/ 58449 w 194737"/>
                  <a:gd name="connsiteY9" fmla="*/ 28 h 199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4737" h="199438">
                    <a:moveTo>
                      <a:pt x="58449" y="28"/>
                    </a:moveTo>
                    <a:cubicBezTo>
                      <a:pt x="106955" y="-305"/>
                      <a:pt x="145507" y="2309"/>
                      <a:pt x="158187" y="12835"/>
                    </a:cubicBezTo>
                    <a:cubicBezTo>
                      <a:pt x="191999" y="40969"/>
                      <a:pt x="194295" y="129708"/>
                      <a:pt x="194295" y="129708"/>
                    </a:cubicBezTo>
                    <a:cubicBezTo>
                      <a:pt x="194295" y="129708"/>
                      <a:pt x="194639" y="134164"/>
                      <a:pt x="194737" y="141958"/>
                    </a:cubicBezTo>
                    <a:lnTo>
                      <a:pt x="194270" y="156449"/>
                    </a:lnTo>
                    <a:lnTo>
                      <a:pt x="86651" y="190527"/>
                    </a:lnTo>
                    <a:lnTo>
                      <a:pt x="0" y="199438"/>
                    </a:lnTo>
                    <a:lnTo>
                      <a:pt x="34998" y="10091"/>
                    </a:lnTo>
                    <a:lnTo>
                      <a:pt x="14721" y="994"/>
                    </a:lnTo>
                    <a:lnTo>
                      <a:pt x="58449" y="2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30676440-CC20-4CFE-BCC1-3433D067A4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84693" y="3006999"/>
                <a:ext cx="209943" cy="197267"/>
              </a:xfrm>
              <a:custGeom>
                <a:avLst/>
                <a:gdLst>
                  <a:gd name="connsiteX0" fmla="*/ 115491 w 209943"/>
                  <a:gd name="connsiteY0" fmla="*/ 966 h 197267"/>
                  <a:gd name="connsiteX1" fmla="*/ 157891 w 209943"/>
                  <a:gd name="connsiteY1" fmla="*/ 3010 h 197267"/>
                  <a:gd name="connsiteX2" fmla="*/ 189550 w 209943"/>
                  <a:gd name="connsiteY2" fmla="*/ 2753 h 197267"/>
                  <a:gd name="connsiteX3" fmla="*/ 188153 w 209943"/>
                  <a:gd name="connsiteY3" fmla="*/ 3305 h 197267"/>
                  <a:gd name="connsiteX4" fmla="*/ 209943 w 209943"/>
                  <a:gd name="connsiteY4" fmla="*/ 197267 h 197267"/>
                  <a:gd name="connsiteX5" fmla="*/ 122047 w 209943"/>
                  <a:gd name="connsiteY5" fmla="*/ 188228 h 197267"/>
                  <a:gd name="connsiteX6" fmla="*/ 15449 w 209943"/>
                  <a:gd name="connsiteY6" fmla="*/ 154473 h 197267"/>
                  <a:gd name="connsiteX7" fmla="*/ 8123 w 209943"/>
                  <a:gd name="connsiteY7" fmla="*/ 124347 h 197267"/>
                  <a:gd name="connsiteX8" fmla="*/ 115491 w 209943"/>
                  <a:gd name="connsiteY8" fmla="*/ 966 h 19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9943" h="197267">
                    <a:moveTo>
                      <a:pt x="115491" y="966"/>
                    </a:moveTo>
                    <a:cubicBezTo>
                      <a:pt x="127979" y="2178"/>
                      <a:pt x="142309" y="2798"/>
                      <a:pt x="157891" y="3010"/>
                    </a:cubicBezTo>
                    <a:lnTo>
                      <a:pt x="189550" y="2753"/>
                    </a:lnTo>
                    <a:lnTo>
                      <a:pt x="188153" y="3305"/>
                    </a:lnTo>
                    <a:lnTo>
                      <a:pt x="209943" y="197267"/>
                    </a:lnTo>
                    <a:lnTo>
                      <a:pt x="122047" y="188228"/>
                    </a:lnTo>
                    <a:lnTo>
                      <a:pt x="15449" y="154473"/>
                    </a:lnTo>
                    <a:lnTo>
                      <a:pt x="8123" y="124347"/>
                    </a:lnTo>
                    <a:cubicBezTo>
                      <a:pt x="-17040" y="56193"/>
                      <a:pt x="15587" y="-8731"/>
                      <a:pt x="115491" y="96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72E6A1DC-3D2C-4101-93D3-B61018641E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672846" y="3005694"/>
                <a:ext cx="155661" cy="203592"/>
              </a:xfrm>
              <a:custGeom>
                <a:avLst/>
                <a:gdLst>
                  <a:gd name="connsiteX0" fmla="*/ 135384 w 155661"/>
                  <a:gd name="connsiteY0" fmla="*/ 0 h 203592"/>
                  <a:gd name="connsiteX1" fmla="*/ 155661 w 155661"/>
                  <a:gd name="connsiteY1" fmla="*/ 9097 h 203592"/>
                  <a:gd name="connsiteX2" fmla="*/ 120663 w 155661"/>
                  <a:gd name="connsiteY2" fmla="*/ 198444 h 203592"/>
                  <a:gd name="connsiteX3" fmla="*/ 70604 w 155661"/>
                  <a:gd name="connsiteY3" fmla="*/ 203592 h 203592"/>
                  <a:gd name="connsiteX4" fmla="*/ 21790 w 155661"/>
                  <a:gd name="connsiteY4" fmla="*/ 198572 h 203592"/>
                  <a:gd name="connsiteX5" fmla="*/ 0 w 155661"/>
                  <a:gd name="connsiteY5" fmla="*/ 4610 h 203592"/>
                  <a:gd name="connsiteX6" fmla="*/ 1397 w 155661"/>
                  <a:gd name="connsiteY6" fmla="*/ 4058 h 203592"/>
                  <a:gd name="connsiteX7" fmla="*/ 19654 w 155661"/>
                  <a:gd name="connsiteY7" fmla="*/ 3910 h 203592"/>
                  <a:gd name="connsiteX8" fmla="*/ 127878 w 155661"/>
                  <a:gd name="connsiteY8" fmla="*/ 166 h 203592"/>
                  <a:gd name="connsiteX9" fmla="*/ 135384 w 155661"/>
                  <a:gd name="connsiteY9" fmla="*/ 0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661" h="203592">
                    <a:moveTo>
                      <a:pt x="135384" y="0"/>
                    </a:moveTo>
                    <a:lnTo>
                      <a:pt x="155661" y="9097"/>
                    </a:lnTo>
                    <a:lnTo>
                      <a:pt x="120663" y="198444"/>
                    </a:lnTo>
                    <a:lnTo>
                      <a:pt x="70604" y="203592"/>
                    </a:lnTo>
                    <a:lnTo>
                      <a:pt x="21790" y="198572"/>
                    </a:lnTo>
                    <a:lnTo>
                      <a:pt x="0" y="4610"/>
                    </a:lnTo>
                    <a:lnTo>
                      <a:pt x="1397" y="4058"/>
                    </a:lnTo>
                    <a:lnTo>
                      <a:pt x="19654" y="3910"/>
                    </a:lnTo>
                    <a:cubicBezTo>
                      <a:pt x="54649" y="3069"/>
                      <a:pt x="92296" y="1330"/>
                      <a:pt x="127878" y="166"/>
                    </a:cubicBezTo>
                    <a:lnTo>
                      <a:pt x="135384" y="0"/>
                    </a:lnTo>
                    <a:close/>
                  </a:path>
                </a:pathLst>
              </a:custGeom>
              <a:solidFill>
                <a:srgbClr val="DBDBDB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tr-TR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04CB1A0C-7A3E-4114-AF47-750099B677DE}"/>
                </a:ext>
              </a:extLst>
            </p:cNvPr>
            <p:cNvSpPr/>
            <p:nvPr/>
          </p:nvSpPr>
          <p:spPr>
            <a:xfrm>
              <a:off x="5429847" y="2158210"/>
              <a:ext cx="321911" cy="229535"/>
            </a:xfrm>
            <a:custGeom>
              <a:avLst/>
              <a:gdLst>
                <a:gd name="connsiteX0" fmla="*/ 321911 w 321911"/>
                <a:gd name="connsiteY0" fmla="*/ 114768 h 229535"/>
                <a:gd name="connsiteX1" fmla="*/ 160956 w 321911"/>
                <a:gd name="connsiteY1" fmla="*/ 229536 h 229535"/>
                <a:gd name="connsiteX2" fmla="*/ 0 w 321911"/>
                <a:gd name="connsiteY2" fmla="*/ 114768 h 229535"/>
                <a:gd name="connsiteX3" fmla="*/ 160956 w 321911"/>
                <a:gd name="connsiteY3" fmla="*/ 0 h 229535"/>
                <a:gd name="connsiteX4" fmla="*/ 321911 w 321911"/>
                <a:gd name="connsiteY4" fmla="*/ 114768 h 22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911" h="229535">
                  <a:moveTo>
                    <a:pt x="321911" y="114768"/>
                  </a:moveTo>
                  <a:cubicBezTo>
                    <a:pt x="321911" y="178180"/>
                    <a:pt x="249823" y="229536"/>
                    <a:pt x="160956" y="229536"/>
                  </a:cubicBezTo>
                  <a:cubicBezTo>
                    <a:pt x="72025" y="229536"/>
                    <a:pt x="0" y="178180"/>
                    <a:pt x="0" y="114768"/>
                  </a:cubicBezTo>
                  <a:cubicBezTo>
                    <a:pt x="0" y="51356"/>
                    <a:pt x="72089" y="0"/>
                    <a:pt x="160956" y="0"/>
                  </a:cubicBezTo>
                  <a:cubicBezTo>
                    <a:pt x="249823" y="0"/>
                    <a:pt x="321911" y="51419"/>
                    <a:pt x="321911" y="114768"/>
                  </a:cubicBezTo>
                  <a:close/>
                </a:path>
              </a:pathLst>
            </a:custGeom>
            <a:solidFill>
              <a:schemeClr val="accent5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9AE902A-9BFD-45F6-9950-9138978C3B9E}"/>
                </a:ext>
              </a:extLst>
            </p:cNvPr>
            <p:cNvSpPr/>
            <p:nvPr/>
          </p:nvSpPr>
          <p:spPr>
            <a:xfrm>
              <a:off x="5472080" y="2102900"/>
              <a:ext cx="560378" cy="783662"/>
            </a:xfrm>
            <a:custGeom>
              <a:avLst/>
              <a:gdLst>
                <a:gd name="connsiteX0" fmla="*/ 280189 w 560378"/>
                <a:gd name="connsiteY0" fmla="*/ 0 h 783662"/>
                <a:gd name="connsiteX1" fmla="*/ 560379 w 560378"/>
                <a:gd name="connsiteY1" fmla="*/ 438976 h 783662"/>
                <a:gd name="connsiteX2" fmla="*/ 280189 w 560378"/>
                <a:gd name="connsiteY2" fmla="*/ 783662 h 783662"/>
                <a:gd name="connsiteX3" fmla="*/ 0 w 560378"/>
                <a:gd name="connsiteY3" fmla="*/ 458689 h 783662"/>
                <a:gd name="connsiteX4" fmla="*/ 280189 w 560378"/>
                <a:gd name="connsiteY4" fmla="*/ 0 h 78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378" h="783662">
                  <a:moveTo>
                    <a:pt x="280189" y="0"/>
                  </a:moveTo>
                  <a:cubicBezTo>
                    <a:pt x="519358" y="0"/>
                    <a:pt x="560379" y="325675"/>
                    <a:pt x="560379" y="438976"/>
                  </a:cubicBezTo>
                  <a:cubicBezTo>
                    <a:pt x="560379" y="552340"/>
                    <a:pt x="345260" y="783662"/>
                    <a:pt x="280189" y="783662"/>
                  </a:cubicBezTo>
                  <a:cubicBezTo>
                    <a:pt x="215118" y="783662"/>
                    <a:pt x="0" y="595529"/>
                    <a:pt x="0" y="458689"/>
                  </a:cubicBezTo>
                  <a:cubicBezTo>
                    <a:pt x="0" y="321848"/>
                    <a:pt x="27623" y="0"/>
                    <a:pt x="28018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FAC983FB-EC7B-42AA-BA6A-2C1C36F75ED4}"/>
                </a:ext>
              </a:extLst>
            </p:cNvPr>
            <p:cNvSpPr/>
            <p:nvPr/>
          </p:nvSpPr>
          <p:spPr>
            <a:xfrm>
              <a:off x="5430039" y="1998850"/>
              <a:ext cx="646465" cy="562876"/>
            </a:xfrm>
            <a:custGeom>
              <a:avLst/>
              <a:gdLst>
                <a:gd name="connsiteX0" fmla="*/ 123444 w 646465"/>
                <a:gd name="connsiteY0" fmla="*/ 271960 h 562876"/>
                <a:gd name="connsiteX1" fmla="*/ 322230 w 646465"/>
                <a:gd name="connsiteY1" fmla="*/ 202423 h 562876"/>
                <a:gd name="connsiteX2" fmla="*/ 536838 w 646465"/>
                <a:gd name="connsiteY2" fmla="*/ 291991 h 562876"/>
                <a:gd name="connsiteX3" fmla="*/ 589086 w 646465"/>
                <a:gd name="connsiteY3" fmla="*/ 520953 h 562876"/>
                <a:gd name="connsiteX4" fmla="*/ 646375 w 646465"/>
                <a:gd name="connsiteY4" fmla="*/ 406249 h 562876"/>
                <a:gd name="connsiteX5" fmla="*/ 554764 w 646465"/>
                <a:gd name="connsiteY5" fmla="*/ 221306 h 562876"/>
                <a:gd name="connsiteX6" fmla="*/ 387493 w 646465"/>
                <a:gd name="connsiteY6" fmla="*/ 0 h 562876"/>
                <a:gd name="connsiteX7" fmla="*/ 145007 w 646465"/>
                <a:gd name="connsiteY7" fmla="*/ 71834 h 562876"/>
                <a:gd name="connsiteX8" fmla="*/ 85103 w 646465"/>
                <a:gd name="connsiteY8" fmla="*/ 236681 h 562876"/>
                <a:gd name="connsiteX9" fmla="*/ 0 w 646465"/>
                <a:gd name="connsiteY9" fmla="*/ 434957 h 562876"/>
                <a:gd name="connsiteX10" fmla="*/ 42041 w 646465"/>
                <a:gd name="connsiteY10" fmla="*/ 562866 h 562876"/>
                <a:gd name="connsiteX11" fmla="*/ 80446 w 646465"/>
                <a:gd name="connsiteY11" fmla="*/ 482739 h 562876"/>
                <a:gd name="connsiteX12" fmla="*/ 123444 w 646465"/>
                <a:gd name="connsiteY12" fmla="*/ 271960 h 56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6465" h="562876">
                  <a:moveTo>
                    <a:pt x="123444" y="271960"/>
                  </a:moveTo>
                  <a:cubicBezTo>
                    <a:pt x="151578" y="234958"/>
                    <a:pt x="202869" y="202423"/>
                    <a:pt x="322230" y="202423"/>
                  </a:cubicBezTo>
                  <a:cubicBezTo>
                    <a:pt x="441591" y="202423"/>
                    <a:pt x="501750" y="237000"/>
                    <a:pt x="536838" y="291991"/>
                  </a:cubicBezTo>
                  <a:cubicBezTo>
                    <a:pt x="567268" y="339646"/>
                    <a:pt x="536838" y="502133"/>
                    <a:pt x="589086" y="520953"/>
                  </a:cubicBezTo>
                  <a:cubicBezTo>
                    <a:pt x="651286" y="423027"/>
                    <a:pt x="646375" y="406249"/>
                    <a:pt x="646375" y="406249"/>
                  </a:cubicBezTo>
                  <a:cubicBezTo>
                    <a:pt x="646375" y="406249"/>
                    <a:pt x="646375" y="359104"/>
                    <a:pt x="554764" y="221306"/>
                  </a:cubicBezTo>
                  <a:cubicBezTo>
                    <a:pt x="476424" y="26666"/>
                    <a:pt x="387493" y="0"/>
                    <a:pt x="387493" y="0"/>
                  </a:cubicBezTo>
                  <a:cubicBezTo>
                    <a:pt x="344495" y="510"/>
                    <a:pt x="154959" y="64816"/>
                    <a:pt x="145007" y="71834"/>
                  </a:cubicBezTo>
                  <a:cubicBezTo>
                    <a:pt x="113556" y="93907"/>
                    <a:pt x="85103" y="236681"/>
                    <a:pt x="85103" y="236681"/>
                  </a:cubicBezTo>
                  <a:cubicBezTo>
                    <a:pt x="85103" y="236681"/>
                    <a:pt x="23668" y="335308"/>
                    <a:pt x="0" y="434957"/>
                  </a:cubicBezTo>
                  <a:cubicBezTo>
                    <a:pt x="18437" y="543473"/>
                    <a:pt x="42041" y="562866"/>
                    <a:pt x="42041" y="562866"/>
                  </a:cubicBezTo>
                  <a:cubicBezTo>
                    <a:pt x="42041" y="562866"/>
                    <a:pt x="74321" y="565609"/>
                    <a:pt x="80446" y="482739"/>
                  </a:cubicBezTo>
                  <a:cubicBezTo>
                    <a:pt x="85868" y="409757"/>
                    <a:pt x="94289" y="310365"/>
                    <a:pt x="123444" y="271960"/>
                  </a:cubicBezTo>
                  <a:close/>
                </a:path>
              </a:pathLst>
            </a:custGeom>
            <a:solidFill>
              <a:schemeClr val="accent5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17AE901F-3B26-402B-A9C8-D36915955700}"/>
                </a:ext>
              </a:extLst>
            </p:cNvPr>
            <p:cNvSpPr/>
            <p:nvPr/>
          </p:nvSpPr>
          <p:spPr>
            <a:xfrm>
              <a:off x="5753502" y="2394190"/>
              <a:ext cx="85535" cy="337604"/>
            </a:xfrm>
            <a:custGeom>
              <a:avLst/>
              <a:gdLst>
                <a:gd name="connsiteX0" fmla="*/ 22313 w 85535"/>
                <a:gd name="connsiteY0" fmla="*/ 337605 h 337604"/>
                <a:gd name="connsiteX1" fmla="*/ 18804 w 85535"/>
                <a:gd name="connsiteY1" fmla="*/ 325803 h 337604"/>
                <a:gd name="connsiteX2" fmla="*/ 51021 w 85535"/>
                <a:gd name="connsiteY2" fmla="*/ 309918 h 337604"/>
                <a:gd name="connsiteX3" fmla="*/ 72711 w 85535"/>
                <a:gd name="connsiteY3" fmla="*/ 269790 h 337604"/>
                <a:gd name="connsiteX4" fmla="*/ 13892 w 85535"/>
                <a:gd name="connsiteY4" fmla="*/ 279105 h 337604"/>
                <a:gd name="connsiteX5" fmla="*/ 11659 w 85535"/>
                <a:gd name="connsiteY5" fmla="*/ 276234 h 337604"/>
                <a:gd name="connsiteX6" fmla="*/ 558 w 85535"/>
                <a:gd name="connsiteY6" fmla="*/ 171737 h 337604"/>
                <a:gd name="connsiteX7" fmla="*/ 64673 w 85535"/>
                <a:gd name="connsiteY7" fmla="*/ 0 h 337604"/>
                <a:gd name="connsiteX8" fmla="*/ 73796 w 85535"/>
                <a:gd name="connsiteY8" fmla="*/ 8229 h 337604"/>
                <a:gd name="connsiteX9" fmla="*/ 12871 w 85535"/>
                <a:gd name="connsiteY9" fmla="*/ 172247 h 337604"/>
                <a:gd name="connsiteX10" fmla="*/ 20080 w 85535"/>
                <a:gd name="connsiteY10" fmla="*/ 265707 h 337604"/>
                <a:gd name="connsiteX11" fmla="*/ 81834 w 85535"/>
                <a:gd name="connsiteY11" fmla="*/ 255883 h 337604"/>
                <a:gd name="connsiteX12" fmla="*/ 83365 w 85535"/>
                <a:gd name="connsiteY12" fmla="*/ 260987 h 337604"/>
                <a:gd name="connsiteX13" fmla="*/ 80048 w 85535"/>
                <a:gd name="connsiteY13" fmla="*/ 296585 h 337604"/>
                <a:gd name="connsiteX14" fmla="*/ 22313 w 85535"/>
                <a:gd name="connsiteY14" fmla="*/ 337605 h 33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535" h="337604">
                  <a:moveTo>
                    <a:pt x="22313" y="337605"/>
                  </a:moveTo>
                  <a:lnTo>
                    <a:pt x="18804" y="325803"/>
                  </a:lnTo>
                  <a:cubicBezTo>
                    <a:pt x="18995" y="325739"/>
                    <a:pt x="36029" y="320572"/>
                    <a:pt x="51021" y="309918"/>
                  </a:cubicBezTo>
                  <a:cubicBezTo>
                    <a:pt x="67735" y="298052"/>
                    <a:pt x="75008" y="284591"/>
                    <a:pt x="72711" y="269790"/>
                  </a:cubicBezTo>
                  <a:lnTo>
                    <a:pt x="13892" y="279105"/>
                  </a:lnTo>
                  <a:lnTo>
                    <a:pt x="11659" y="276234"/>
                  </a:lnTo>
                  <a:cubicBezTo>
                    <a:pt x="10192" y="274320"/>
                    <a:pt x="-2822" y="255118"/>
                    <a:pt x="558" y="171737"/>
                  </a:cubicBezTo>
                  <a:cubicBezTo>
                    <a:pt x="4769" y="67687"/>
                    <a:pt x="62185" y="2743"/>
                    <a:pt x="64673" y="0"/>
                  </a:cubicBezTo>
                  <a:lnTo>
                    <a:pt x="73796" y="8229"/>
                  </a:lnTo>
                  <a:cubicBezTo>
                    <a:pt x="73221" y="8867"/>
                    <a:pt x="16826" y="72790"/>
                    <a:pt x="12871" y="172247"/>
                  </a:cubicBezTo>
                  <a:cubicBezTo>
                    <a:pt x="10447" y="233236"/>
                    <a:pt x="17018" y="257797"/>
                    <a:pt x="20080" y="265707"/>
                  </a:cubicBezTo>
                  <a:lnTo>
                    <a:pt x="81834" y="255883"/>
                  </a:lnTo>
                  <a:lnTo>
                    <a:pt x="83365" y="260987"/>
                  </a:lnTo>
                  <a:cubicBezTo>
                    <a:pt x="87129" y="273491"/>
                    <a:pt x="85981" y="285484"/>
                    <a:pt x="80048" y="296585"/>
                  </a:cubicBezTo>
                  <a:cubicBezTo>
                    <a:pt x="64928" y="324590"/>
                    <a:pt x="24035" y="337094"/>
                    <a:pt x="22313" y="33760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356300CD-4CB2-4331-BDC9-C7B65AB1D2D7}"/>
                </a:ext>
              </a:extLst>
            </p:cNvPr>
            <p:cNvSpPr/>
            <p:nvPr/>
          </p:nvSpPr>
          <p:spPr>
            <a:xfrm>
              <a:off x="5554028" y="2480133"/>
              <a:ext cx="154022" cy="101168"/>
            </a:xfrm>
            <a:custGeom>
              <a:avLst/>
              <a:gdLst>
                <a:gd name="connsiteX0" fmla="*/ 1815 w 154022"/>
                <a:gd name="connsiteY0" fmla="*/ 18426 h 101168"/>
                <a:gd name="connsiteX1" fmla="*/ 10492 w 154022"/>
                <a:gd name="connsiteY1" fmla="*/ 75714 h 101168"/>
                <a:gd name="connsiteX2" fmla="*/ 153329 w 154022"/>
                <a:gd name="connsiteY2" fmla="*/ 101168 h 101168"/>
                <a:gd name="connsiteX3" fmla="*/ 91958 w 154022"/>
                <a:gd name="connsiteY3" fmla="*/ 3115 h 101168"/>
                <a:gd name="connsiteX4" fmla="*/ 1815 w 154022"/>
                <a:gd name="connsiteY4" fmla="*/ 18426 h 10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022" h="101168">
                  <a:moveTo>
                    <a:pt x="1815" y="18426"/>
                  </a:moveTo>
                  <a:cubicBezTo>
                    <a:pt x="1815" y="18426"/>
                    <a:pt x="-5904" y="43433"/>
                    <a:pt x="10492" y="75714"/>
                  </a:cubicBezTo>
                  <a:cubicBezTo>
                    <a:pt x="48259" y="75714"/>
                    <a:pt x="97508" y="77628"/>
                    <a:pt x="153329" y="101168"/>
                  </a:cubicBezTo>
                  <a:cubicBezTo>
                    <a:pt x="158433" y="80690"/>
                    <a:pt x="135084" y="15363"/>
                    <a:pt x="91958" y="3115"/>
                  </a:cubicBezTo>
                  <a:cubicBezTo>
                    <a:pt x="48833" y="-9070"/>
                    <a:pt x="1815" y="18426"/>
                    <a:pt x="1815" y="18426"/>
                  </a:cubicBezTo>
                  <a:close/>
                </a:path>
              </a:pathLst>
            </a:custGeom>
            <a:solidFill>
              <a:srgbClr val="FFFFFF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0ABA4CB1-B867-411A-A6B8-4805247CCE7A}"/>
                </a:ext>
              </a:extLst>
            </p:cNvPr>
            <p:cNvSpPr/>
            <p:nvPr/>
          </p:nvSpPr>
          <p:spPr>
            <a:xfrm>
              <a:off x="5590101" y="2481781"/>
              <a:ext cx="97224" cy="97224"/>
            </a:xfrm>
            <a:custGeom>
              <a:avLst/>
              <a:gdLst>
                <a:gd name="connsiteX0" fmla="*/ 97224 w 97224"/>
                <a:gd name="connsiteY0" fmla="*/ 48612 h 97224"/>
                <a:gd name="connsiteX1" fmla="*/ 48612 w 97224"/>
                <a:gd name="connsiteY1" fmla="*/ 97224 h 97224"/>
                <a:gd name="connsiteX2" fmla="*/ 0 w 97224"/>
                <a:gd name="connsiteY2" fmla="*/ 48612 h 97224"/>
                <a:gd name="connsiteX3" fmla="*/ 48612 w 97224"/>
                <a:gd name="connsiteY3" fmla="*/ 0 h 97224"/>
                <a:gd name="connsiteX4" fmla="*/ 97224 w 97224"/>
                <a:gd name="connsiteY4" fmla="*/ 48612 h 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224" h="97224">
                  <a:moveTo>
                    <a:pt x="97224" y="48612"/>
                  </a:moveTo>
                  <a:cubicBezTo>
                    <a:pt x="97224" y="75470"/>
                    <a:pt x="75470" y="97224"/>
                    <a:pt x="48612" y="97224"/>
                  </a:cubicBezTo>
                  <a:cubicBezTo>
                    <a:pt x="21754" y="97224"/>
                    <a:pt x="0" y="75470"/>
                    <a:pt x="0" y="48612"/>
                  </a:cubicBezTo>
                  <a:cubicBezTo>
                    <a:pt x="0" y="21754"/>
                    <a:pt x="21754" y="0"/>
                    <a:pt x="48612" y="0"/>
                  </a:cubicBezTo>
                  <a:cubicBezTo>
                    <a:pt x="75470" y="0"/>
                    <a:pt x="97224" y="21754"/>
                    <a:pt x="97224" y="48612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52FE763C-826D-4804-B78C-F8E862910A4E}"/>
                </a:ext>
              </a:extLst>
            </p:cNvPr>
            <p:cNvSpPr/>
            <p:nvPr/>
          </p:nvSpPr>
          <p:spPr>
            <a:xfrm>
              <a:off x="5559607" y="2372675"/>
              <a:ext cx="161843" cy="65661"/>
            </a:xfrm>
            <a:custGeom>
              <a:avLst/>
              <a:gdLst>
                <a:gd name="connsiteX0" fmla="*/ 1021 w 161843"/>
                <a:gd name="connsiteY0" fmla="*/ 65661 h 65661"/>
                <a:gd name="connsiteX1" fmla="*/ 161785 w 161843"/>
                <a:gd name="connsiteY1" fmla="*/ 36315 h 65661"/>
                <a:gd name="connsiteX2" fmla="*/ 140860 w 161843"/>
                <a:gd name="connsiteY2" fmla="*/ 718 h 65661"/>
                <a:gd name="connsiteX3" fmla="*/ 0 w 161843"/>
                <a:gd name="connsiteY3" fmla="*/ 58134 h 65661"/>
                <a:gd name="connsiteX4" fmla="*/ 1021 w 161843"/>
                <a:gd name="connsiteY4" fmla="*/ 65661 h 6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843" h="65661">
                  <a:moveTo>
                    <a:pt x="1021" y="65661"/>
                  </a:moveTo>
                  <a:cubicBezTo>
                    <a:pt x="1021" y="65661"/>
                    <a:pt x="63285" y="9075"/>
                    <a:pt x="161785" y="36315"/>
                  </a:cubicBezTo>
                  <a:cubicBezTo>
                    <a:pt x="163125" y="14434"/>
                    <a:pt x="140860" y="718"/>
                    <a:pt x="140860" y="718"/>
                  </a:cubicBezTo>
                  <a:cubicBezTo>
                    <a:pt x="140860" y="718"/>
                    <a:pt x="70685" y="-10766"/>
                    <a:pt x="0" y="58134"/>
                  </a:cubicBezTo>
                  <a:cubicBezTo>
                    <a:pt x="1021" y="65661"/>
                    <a:pt x="1021" y="65661"/>
                    <a:pt x="1021" y="65661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8739738-EC11-41DA-BD15-D4D7C75A6544}"/>
                </a:ext>
              </a:extLst>
            </p:cNvPr>
            <p:cNvSpPr/>
            <p:nvPr/>
          </p:nvSpPr>
          <p:spPr>
            <a:xfrm>
              <a:off x="5817787" y="2376218"/>
              <a:ext cx="159679" cy="62692"/>
            </a:xfrm>
            <a:custGeom>
              <a:avLst/>
              <a:gdLst>
                <a:gd name="connsiteX0" fmla="*/ 19330 w 159679"/>
                <a:gd name="connsiteY0" fmla="*/ 2980 h 62692"/>
                <a:gd name="connsiteX1" fmla="*/ 0 w 159679"/>
                <a:gd name="connsiteY1" fmla="*/ 33857 h 62692"/>
                <a:gd name="connsiteX2" fmla="*/ 153683 w 159679"/>
                <a:gd name="connsiteY2" fmla="*/ 62692 h 62692"/>
                <a:gd name="connsiteX3" fmla="*/ 159680 w 159679"/>
                <a:gd name="connsiteY3" fmla="*/ 52932 h 62692"/>
                <a:gd name="connsiteX4" fmla="*/ 19330 w 159679"/>
                <a:gd name="connsiteY4" fmla="*/ 2980 h 62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679" h="62692">
                  <a:moveTo>
                    <a:pt x="19330" y="2980"/>
                  </a:moveTo>
                  <a:lnTo>
                    <a:pt x="0" y="33857"/>
                  </a:lnTo>
                  <a:cubicBezTo>
                    <a:pt x="0" y="33857"/>
                    <a:pt x="93652" y="4766"/>
                    <a:pt x="153683" y="62692"/>
                  </a:cubicBezTo>
                  <a:cubicBezTo>
                    <a:pt x="159680" y="52932"/>
                    <a:pt x="159680" y="52932"/>
                    <a:pt x="159680" y="52932"/>
                  </a:cubicBezTo>
                  <a:cubicBezTo>
                    <a:pt x="159680" y="52932"/>
                    <a:pt x="127655" y="-14819"/>
                    <a:pt x="19330" y="2980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177B83C2-8491-42BF-AEAE-12BA216604D6}"/>
                </a:ext>
              </a:extLst>
            </p:cNvPr>
            <p:cNvSpPr/>
            <p:nvPr/>
          </p:nvSpPr>
          <p:spPr>
            <a:xfrm>
              <a:off x="5546529" y="2469106"/>
              <a:ext cx="161859" cy="102434"/>
            </a:xfrm>
            <a:custGeom>
              <a:avLst/>
              <a:gdLst>
                <a:gd name="connsiteX0" fmla="*/ 0 w 161859"/>
                <a:gd name="connsiteY0" fmla="*/ 38895 h 102434"/>
                <a:gd name="connsiteX1" fmla="*/ 6762 w 161859"/>
                <a:gd name="connsiteY1" fmla="*/ 31558 h 102434"/>
                <a:gd name="connsiteX2" fmla="*/ 27560 w 161859"/>
                <a:gd name="connsiteY2" fmla="*/ 15865 h 102434"/>
                <a:gd name="connsiteX3" fmla="*/ 43317 w 161859"/>
                <a:gd name="connsiteY3" fmla="*/ 8018 h 102434"/>
                <a:gd name="connsiteX4" fmla="*/ 62456 w 161859"/>
                <a:gd name="connsiteY4" fmla="*/ 2085 h 102434"/>
                <a:gd name="connsiteX5" fmla="*/ 84529 w 161859"/>
                <a:gd name="connsiteY5" fmla="*/ 44 h 102434"/>
                <a:gd name="connsiteX6" fmla="*/ 96267 w 161859"/>
                <a:gd name="connsiteY6" fmla="*/ 1192 h 102434"/>
                <a:gd name="connsiteX7" fmla="*/ 102136 w 161859"/>
                <a:gd name="connsiteY7" fmla="*/ 2404 h 102434"/>
                <a:gd name="connsiteX8" fmla="*/ 107942 w 161859"/>
                <a:gd name="connsiteY8" fmla="*/ 4126 h 102434"/>
                <a:gd name="connsiteX9" fmla="*/ 129186 w 161859"/>
                <a:gd name="connsiteY9" fmla="*/ 15354 h 102434"/>
                <a:gd name="connsiteX10" fmla="*/ 144879 w 161859"/>
                <a:gd name="connsiteY10" fmla="*/ 31813 h 102434"/>
                <a:gd name="connsiteX11" fmla="*/ 159616 w 161859"/>
                <a:gd name="connsiteY11" fmla="*/ 66901 h 102434"/>
                <a:gd name="connsiteX12" fmla="*/ 161785 w 161859"/>
                <a:gd name="connsiteY12" fmla="*/ 92738 h 102434"/>
                <a:gd name="connsiteX13" fmla="*/ 160828 w 161859"/>
                <a:gd name="connsiteY13" fmla="*/ 102435 h 102434"/>
                <a:gd name="connsiteX14" fmla="*/ 157638 w 161859"/>
                <a:gd name="connsiteY14" fmla="*/ 93376 h 102434"/>
                <a:gd name="connsiteX15" fmla="*/ 147814 w 161859"/>
                <a:gd name="connsiteY15" fmla="*/ 70984 h 102434"/>
                <a:gd name="connsiteX16" fmla="*/ 129377 w 161859"/>
                <a:gd name="connsiteY16" fmla="*/ 44381 h 102434"/>
                <a:gd name="connsiteX17" fmla="*/ 116235 w 161859"/>
                <a:gd name="connsiteY17" fmla="*/ 33791 h 102434"/>
                <a:gd name="connsiteX18" fmla="*/ 100797 w 161859"/>
                <a:gd name="connsiteY18" fmla="*/ 27093 h 102434"/>
                <a:gd name="connsiteX19" fmla="*/ 92439 w 161859"/>
                <a:gd name="connsiteY19" fmla="*/ 25306 h 102434"/>
                <a:gd name="connsiteX20" fmla="*/ 83827 w 161859"/>
                <a:gd name="connsiteY20" fmla="*/ 24668 h 102434"/>
                <a:gd name="connsiteX21" fmla="*/ 66347 w 161859"/>
                <a:gd name="connsiteY21" fmla="*/ 25498 h 102434"/>
                <a:gd name="connsiteX22" fmla="*/ 49378 w 161859"/>
                <a:gd name="connsiteY22" fmla="*/ 28113 h 102434"/>
                <a:gd name="connsiteX23" fmla="*/ 33748 w 161859"/>
                <a:gd name="connsiteY23" fmla="*/ 31303 h 102434"/>
                <a:gd name="connsiteX24" fmla="*/ 9569 w 161859"/>
                <a:gd name="connsiteY24" fmla="*/ 36853 h 102434"/>
                <a:gd name="connsiteX25" fmla="*/ 0 w 161859"/>
                <a:gd name="connsiteY25" fmla="*/ 38895 h 10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1859" h="102434">
                  <a:moveTo>
                    <a:pt x="0" y="38895"/>
                  </a:moveTo>
                  <a:cubicBezTo>
                    <a:pt x="0" y="38895"/>
                    <a:pt x="2169" y="35896"/>
                    <a:pt x="6762" y="31558"/>
                  </a:cubicBezTo>
                  <a:cubicBezTo>
                    <a:pt x="11292" y="27220"/>
                    <a:pt x="18245" y="21415"/>
                    <a:pt x="27560" y="15865"/>
                  </a:cubicBezTo>
                  <a:cubicBezTo>
                    <a:pt x="32217" y="13121"/>
                    <a:pt x="37448" y="10378"/>
                    <a:pt x="43317" y="8018"/>
                  </a:cubicBezTo>
                  <a:cubicBezTo>
                    <a:pt x="49122" y="5594"/>
                    <a:pt x="55565" y="3552"/>
                    <a:pt x="62456" y="2085"/>
                  </a:cubicBezTo>
                  <a:cubicBezTo>
                    <a:pt x="69346" y="681"/>
                    <a:pt x="76873" y="-212"/>
                    <a:pt x="84529" y="44"/>
                  </a:cubicBezTo>
                  <a:cubicBezTo>
                    <a:pt x="87527" y="44"/>
                    <a:pt x="92312" y="617"/>
                    <a:pt x="96267" y="1192"/>
                  </a:cubicBezTo>
                  <a:lnTo>
                    <a:pt x="102136" y="2404"/>
                  </a:lnTo>
                  <a:cubicBezTo>
                    <a:pt x="104050" y="2914"/>
                    <a:pt x="105964" y="3552"/>
                    <a:pt x="107942" y="4126"/>
                  </a:cubicBezTo>
                  <a:cubicBezTo>
                    <a:pt x="115597" y="6678"/>
                    <a:pt x="122870" y="10570"/>
                    <a:pt x="129186" y="15354"/>
                  </a:cubicBezTo>
                  <a:cubicBezTo>
                    <a:pt x="135437" y="20203"/>
                    <a:pt x="140733" y="25881"/>
                    <a:pt x="144879" y="31813"/>
                  </a:cubicBezTo>
                  <a:cubicBezTo>
                    <a:pt x="153236" y="43743"/>
                    <a:pt x="157511" y="56247"/>
                    <a:pt x="159616" y="66901"/>
                  </a:cubicBezTo>
                  <a:cubicBezTo>
                    <a:pt x="161721" y="77618"/>
                    <a:pt x="162040" y="86550"/>
                    <a:pt x="161785" y="92738"/>
                  </a:cubicBezTo>
                  <a:cubicBezTo>
                    <a:pt x="161530" y="98926"/>
                    <a:pt x="160828" y="102435"/>
                    <a:pt x="160828" y="102435"/>
                  </a:cubicBezTo>
                  <a:cubicBezTo>
                    <a:pt x="160828" y="102435"/>
                    <a:pt x="159743" y="99054"/>
                    <a:pt x="157638" y="93376"/>
                  </a:cubicBezTo>
                  <a:cubicBezTo>
                    <a:pt x="155533" y="87762"/>
                    <a:pt x="152407" y="79788"/>
                    <a:pt x="147814" y="70984"/>
                  </a:cubicBezTo>
                  <a:cubicBezTo>
                    <a:pt x="143284" y="62180"/>
                    <a:pt x="137224" y="52547"/>
                    <a:pt x="129377" y="44381"/>
                  </a:cubicBezTo>
                  <a:cubicBezTo>
                    <a:pt x="125421" y="40362"/>
                    <a:pt x="121083" y="36662"/>
                    <a:pt x="116235" y="33791"/>
                  </a:cubicBezTo>
                  <a:cubicBezTo>
                    <a:pt x="111450" y="30856"/>
                    <a:pt x="106283" y="28624"/>
                    <a:pt x="100797" y="27093"/>
                  </a:cubicBezTo>
                  <a:cubicBezTo>
                    <a:pt x="98053" y="26327"/>
                    <a:pt x="95246" y="25817"/>
                    <a:pt x="92439" y="25306"/>
                  </a:cubicBezTo>
                  <a:cubicBezTo>
                    <a:pt x="89569" y="25051"/>
                    <a:pt x="87591" y="24605"/>
                    <a:pt x="83827" y="24668"/>
                  </a:cubicBezTo>
                  <a:cubicBezTo>
                    <a:pt x="77958" y="24350"/>
                    <a:pt x="72153" y="24923"/>
                    <a:pt x="66347" y="25498"/>
                  </a:cubicBezTo>
                  <a:cubicBezTo>
                    <a:pt x="60542" y="26199"/>
                    <a:pt x="54864" y="27029"/>
                    <a:pt x="49378" y="28113"/>
                  </a:cubicBezTo>
                  <a:cubicBezTo>
                    <a:pt x="43891" y="29134"/>
                    <a:pt x="38660" y="30282"/>
                    <a:pt x="33748" y="31303"/>
                  </a:cubicBezTo>
                  <a:cubicBezTo>
                    <a:pt x="23732" y="33600"/>
                    <a:pt x="15375" y="35514"/>
                    <a:pt x="9569" y="36853"/>
                  </a:cubicBezTo>
                  <a:cubicBezTo>
                    <a:pt x="3636" y="38193"/>
                    <a:pt x="0" y="38895"/>
                    <a:pt x="0" y="38895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60949E10-F924-4CC5-B4ED-7251BCD35683}"/>
                </a:ext>
              </a:extLst>
            </p:cNvPr>
            <p:cNvSpPr/>
            <p:nvPr/>
          </p:nvSpPr>
          <p:spPr>
            <a:xfrm>
              <a:off x="5814478" y="2479939"/>
              <a:ext cx="155174" cy="96386"/>
            </a:xfrm>
            <a:custGeom>
              <a:avLst/>
              <a:gdLst>
                <a:gd name="connsiteX0" fmla="*/ 153738 w 155174"/>
                <a:gd name="connsiteY0" fmla="*/ 16514 h 96386"/>
                <a:gd name="connsiteX1" fmla="*/ 144232 w 155174"/>
                <a:gd name="connsiteY1" fmla="*/ 72782 h 96386"/>
                <a:gd name="connsiteX2" fmla="*/ 693 w 155174"/>
                <a:gd name="connsiteY2" fmla="*/ 96386 h 96386"/>
                <a:gd name="connsiteX3" fmla="*/ 62064 w 155174"/>
                <a:gd name="connsiteY3" fmla="*/ 3309 h 96386"/>
                <a:gd name="connsiteX4" fmla="*/ 153738 w 155174"/>
                <a:gd name="connsiteY4" fmla="*/ 16514 h 96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174" h="96386">
                  <a:moveTo>
                    <a:pt x="153738" y="16514"/>
                  </a:moveTo>
                  <a:cubicBezTo>
                    <a:pt x="153738" y="16514"/>
                    <a:pt x="160628" y="40502"/>
                    <a:pt x="144232" y="72782"/>
                  </a:cubicBezTo>
                  <a:cubicBezTo>
                    <a:pt x="110868" y="72910"/>
                    <a:pt x="56578" y="72846"/>
                    <a:pt x="693" y="96386"/>
                  </a:cubicBezTo>
                  <a:cubicBezTo>
                    <a:pt x="-4411" y="75908"/>
                    <a:pt x="18938" y="15557"/>
                    <a:pt x="62064" y="3309"/>
                  </a:cubicBezTo>
                  <a:cubicBezTo>
                    <a:pt x="105126" y="-8876"/>
                    <a:pt x="153738" y="16514"/>
                    <a:pt x="153738" y="16514"/>
                  </a:cubicBezTo>
                  <a:close/>
                </a:path>
              </a:pathLst>
            </a:custGeom>
            <a:solidFill>
              <a:srgbClr val="FFFFFF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89B2506F-5D13-4962-8C05-C4C09A691D74}"/>
                </a:ext>
              </a:extLst>
            </p:cNvPr>
            <p:cNvSpPr/>
            <p:nvPr/>
          </p:nvSpPr>
          <p:spPr>
            <a:xfrm>
              <a:off x="5836224" y="2481781"/>
              <a:ext cx="97224" cy="97224"/>
            </a:xfrm>
            <a:custGeom>
              <a:avLst/>
              <a:gdLst>
                <a:gd name="connsiteX0" fmla="*/ 0 w 97224"/>
                <a:gd name="connsiteY0" fmla="*/ 48612 h 97224"/>
                <a:gd name="connsiteX1" fmla="*/ 48612 w 97224"/>
                <a:gd name="connsiteY1" fmla="*/ 97224 h 97224"/>
                <a:gd name="connsiteX2" fmla="*/ 97224 w 97224"/>
                <a:gd name="connsiteY2" fmla="*/ 48612 h 97224"/>
                <a:gd name="connsiteX3" fmla="*/ 48612 w 97224"/>
                <a:gd name="connsiteY3" fmla="*/ 0 h 97224"/>
                <a:gd name="connsiteX4" fmla="*/ 0 w 97224"/>
                <a:gd name="connsiteY4" fmla="*/ 48612 h 9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224" h="97224">
                  <a:moveTo>
                    <a:pt x="0" y="48612"/>
                  </a:moveTo>
                  <a:cubicBezTo>
                    <a:pt x="0" y="75470"/>
                    <a:pt x="21754" y="97224"/>
                    <a:pt x="48612" y="97224"/>
                  </a:cubicBezTo>
                  <a:cubicBezTo>
                    <a:pt x="75470" y="97224"/>
                    <a:pt x="97224" y="75470"/>
                    <a:pt x="97224" y="48612"/>
                  </a:cubicBezTo>
                  <a:cubicBezTo>
                    <a:pt x="97224" y="21754"/>
                    <a:pt x="75470" y="0"/>
                    <a:pt x="48612" y="0"/>
                  </a:cubicBezTo>
                  <a:cubicBezTo>
                    <a:pt x="21754" y="0"/>
                    <a:pt x="0" y="21754"/>
                    <a:pt x="0" y="48612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689FE556-C3FB-4DF7-8981-F2FB242B6BD2}"/>
                </a:ext>
              </a:extLst>
            </p:cNvPr>
            <p:cNvSpPr/>
            <p:nvPr/>
          </p:nvSpPr>
          <p:spPr>
            <a:xfrm>
              <a:off x="5814172" y="2469077"/>
              <a:ext cx="163294" cy="97487"/>
            </a:xfrm>
            <a:custGeom>
              <a:avLst/>
              <a:gdLst>
                <a:gd name="connsiteX0" fmla="*/ 163295 w 163294"/>
                <a:gd name="connsiteY0" fmla="*/ 36818 h 97487"/>
                <a:gd name="connsiteX1" fmla="*/ 153726 w 163294"/>
                <a:gd name="connsiteY1" fmla="*/ 35160 h 97487"/>
                <a:gd name="connsiteX2" fmla="*/ 129611 w 163294"/>
                <a:gd name="connsiteY2" fmla="*/ 30630 h 97487"/>
                <a:gd name="connsiteX3" fmla="*/ 114045 w 163294"/>
                <a:gd name="connsiteY3" fmla="*/ 27823 h 97487"/>
                <a:gd name="connsiteX4" fmla="*/ 97139 w 163294"/>
                <a:gd name="connsiteY4" fmla="*/ 25463 h 97487"/>
                <a:gd name="connsiteX5" fmla="*/ 79914 w 163294"/>
                <a:gd name="connsiteY5" fmla="*/ 24505 h 97487"/>
                <a:gd name="connsiteX6" fmla="*/ 74875 w 163294"/>
                <a:gd name="connsiteY6" fmla="*/ 24633 h 97487"/>
                <a:gd name="connsiteX7" fmla="*/ 70919 w 163294"/>
                <a:gd name="connsiteY7" fmla="*/ 25016 h 97487"/>
                <a:gd name="connsiteX8" fmla="*/ 62626 w 163294"/>
                <a:gd name="connsiteY8" fmla="*/ 26419 h 97487"/>
                <a:gd name="connsiteX9" fmla="*/ 46996 w 163294"/>
                <a:gd name="connsiteY9" fmla="*/ 32161 h 97487"/>
                <a:gd name="connsiteX10" fmla="*/ 33535 w 163294"/>
                <a:gd name="connsiteY10" fmla="*/ 41730 h 97487"/>
                <a:gd name="connsiteX11" fmla="*/ 14396 w 163294"/>
                <a:gd name="connsiteY11" fmla="*/ 66866 h 97487"/>
                <a:gd name="connsiteX12" fmla="*/ 4189 w 163294"/>
                <a:gd name="connsiteY12" fmla="*/ 88620 h 97487"/>
                <a:gd name="connsiteX13" fmla="*/ 936 w 163294"/>
                <a:gd name="connsiteY13" fmla="*/ 97487 h 97487"/>
                <a:gd name="connsiteX14" fmla="*/ 43 w 163294"/>
                <a:gd name="connsiteY14" fmla="*/ 87918 h 97487"/>
                <a:gd name="connsiteX15" fmla="*/ 2658 w 163294"/>
                <a:gd name="connsiteY15" fmla="*/ 62400 h 97487"/>
                <a:gd name="connsiteX16" fmla="*/ 18735 w 163294"/>
                <a:gd name="connsiteY16" fmla="*/ 28270 h 97487"/>
                <a:gd name="connsiteX17" fmla="*/ 35258 w 163294"/>
                <a:gd name="connsiteY17" fmla="*/ 12895 h 97487"/>
                <a:gd name="connsiteX18" fmla="*/ 56693 w 163294"/>
                <a:gd name="connsiteY18" fmla="*/ 3134 h 97487"/>
                <a:gd name="connsiteX19" fmla="*/ 68240 w 163294"/>
                <a:gd name="connsiteY19" fmla="*/ 774 h 97487"/>
                <a:gd name="connsiteX20" fmla="*/ 74300 w 163294"/>
                <a:gd name="connsiteY20" fmla="*/ 136 h 97487"/>
                <a:gd name="connsiteX21" fmla="*/ 79340 w 163294"/>
                <a:gd name="connsiteY21" fmla="*/ 8 h 97487"/>
                <a:gd name="connsiteX22" fmla="*/ 90632 w 163294"/>
                <a:gd name="connsiteY22" fmla="*/ 582 h 97487"/>
                <a:gd name="connsiteX23" fmla="*/ 101031 w 163294"/>
                <a:gd name="connsiteY23" fmla="*/ 2305 h 97487"/>
                <a:gd name="connsiteX24" fmla="*/ 119787 w 163294"/>
                <a:gd name="connsiteY24" fmla="*/ 7983 h 97487"/>
                <a:gd name="connsiteX25" fmla="*/ 135353 w 163294"/>
                <a:gd name="connsiteY25" fmla="*/ 15319 h 97487"/>
                <a:gd name="connsiteX26" fmla="*/ 147601 w 163294"/>
                <a:gd name="connsiteY26" fmla="*/ 23038 h 97487"/>
                <a:gd name="connsiteX27" fmla="*/ 156405 w 163294"/>
                <a:gd name="connsiteY27" fmla="*/ 29928 h 97487"/>
                <a:gd name="connsiteX28" fmla="*/ 163295 w 163294"/>
                <a:gd name="connsiteY28" fmla="*/ 36818 h 97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63294" h="97487">
                  <a:moveTo>
                    <a:pt x="163295" y="36818"/>
                  </a:moveTo>
                  <a:cubicBezTo>
                    <a:pt x="163295" y="36818"/>
                    <a:pt x="159659" y="36308"/>
                    <a:pt x="153726" y="35160"/>
                  </a:cubicBezTo>
                  <a:cubicBezTo>
                    <a:pt x="147920" y="34075"/>
                    <a:pt x="139627" y="32480"/>
                    <a:pt x="129611" y="30630"/>
                  </a:cubicBezTo>
                  <a:cubicBezTo>
                    <a:pt x="124763" y="29737"/>
                    <a:pt x="119531" y="28716"/>
                    <a:pt x="114045" y="27823"/>
                  </a:cubicBezTo>
                  <a:cubicBezTo>
                    <a:pt x="108622" y="26994"/>
                    <a:pt x="102881" y="25973"/>
                    <a:pt x="97139" y="25463"/>
                  </a:cubicBezTo>
                  <a:cubicBezTo>
                    <a:pt x="91461" y="24761"/>
                    <a:pt x="85273" y="24442"/>
                    <a:pt x="79914" y="24505"/>
                  </a:cubicBezTo>
                  <a:lnTo>
                    <a:pt x="74875" y="24633"/>
                  </a:lnTo>
                  <a:lnTo>
                    <a:pt x="70919" y="25016"/>
                  </a:lnTo>
                  <a:cubicBezTo>
                    <a:pt x="68304" y="25335"/>
                    <a:pt x="65305" y="25781"/>
                    <a:pt x="62626" y="26419"/>
                  </a:cubicBezTo>
                  <a:cubicBezTo>
                    <a:pt x="57139" y="27695"/>
                    <a:pt x="51844" y="29609"/>
                    <a:pt x="46996" y="32161"/>
                  </a:cubicBezTo>
                  <a:cubicBezTo>
                    <a:pt x="42084" y="34713"/>
                    <a:pt x="37618" y="38030"/>
                    <a:pt x="33535" y="41730"/>
                  </a:cubicBezTo>
                  <a:cubicBezTo>
                    <a:pt x="25433" y="49194"/>
                    <a:pt x="19181" y="58381"/>
                    <a:pt x="14396" y="66866"/>
                  </a:cubicBezTo>
                  <a:cubicBezTo>
                    <a:pt x="9612" y="75287"/>
                    <a:pt x="6358" y="83070"/>
                    <a:pt x="4189" y="88620"/>
                  </a:cubicBezTo>
                  <a:cubicBezTo>
                    <a:pt x="1957" y="94170"/>
                    <a:pt x="936" y="97487"/>
                    <a:pt x="936" y="97487"/>
                  </a:cubicBezTo>
                  <a:cubicBezTo>
                    <a:pt x="936" y="97487"/>
                    <a:pt x="234" y="94043"/>
                    <a:pt x="43" y="87918"/>
                  </a:cubicBezTo>
                  <a:cubicBezTo>
                    <a:pt x="-149" y="81794"/>
                    <a:pt x="234" y="72990"/>
                    <a:pt x="2658" y="62400"/>
                  </a:cubicBezTo>
                  <a:cubicBezTo>
                    <a:pt x="5083" y="51937"/>
                    <a:pt x="9740" y="39625"/>
                    <a:pt x="18735" y="28270"/>
                  </a:cubicBezTo>
                  <a:cubicBezTo>
                    <a:pt x="23200" y="22592"/>
                    <a:pt x="28750" y="17297"/>
                    <a:pt x="35258" y="12895"/>
                  </a:cubicBezTo>
                  <a:cubicBezTo>
                    <a:pt x="41701" y="8493"/>
                    <a:pt x="49101" y="5239"/>
                    <a:pt x="56693" y="3134"/>
                  </a:cubicBezTo>
                  <a:cubicBezTo>
                    <a:pt x="60521" y="1922"/>
                    <a:pt x="64221" y="1348"/>
                    <a:pt x="68240" y="774"/>
                  </a:cubicBezTo>
                  <a:lnTo>
                    <a:pt x="74300" y="136"/>
                  </a:lnTo>
                  <a:lnTo>
                    <a:pt x="79340" y="8"/>
                  </a:lnTo>
                  <a:cubicBezTo>
                    <a:pt x="83551" y="-56"/>
                    <a:pt x="86868" y="263"/>
                    <a:pt x="90632" y="582"/>
                  </a:cubicBezTo>
                  <a:cubicBezTo>
                    <a:pt x="94141" y="1156"/>
                    <a:pt x="97713" y="1539"/>
                    <a:pt x="101031" y="2305"/>
                  </a:cubicBezTo>
                  <a:cubicBezTo>
                    <a:pt x="107793" y="3708"/>
                    <a:pt x="113981" y="5813"/>
                    <a:pt x="119787" y="7983"/>
                  </a:cubicBezTo>
                  <a:cubicBezTo>
                    <a:pt x="125464" y="10279"/>
                    <a:pt x="130696" y="12767"/>
                    <a:pt x="135353" y="15319"/>
                  </a:cubicBezTo>
                  <a:cubicBezTo>
                    <a:pt x="140010" y="17935"/>
                    <a:pt x="144093" y="20486"/>
                    <a:pt x="147601" y="23038"/>
                  </a:cubicBezTo>
                  <a:cubicBezTo>
                    <a:pt x="151110" y="25590"/>
                    <a:pt x="154045" y="27823"/>
                    <a:pt x="156405" y="29928"/>
                  </a:cubicBezTo>
                  <a:cubicBezTo>
                    <a:pt x="160998" y="33947"/>
                    <a:pt x="163295" y="36818"/>
                    <a:pt x="163295" y="36818"/>
                  </a:cubicBezTo>
                  <a:close/>
                </a:path>
              </a:pathLst>
            </a:custGeom>
            <a:solidFill>
              <a:schemeClr val="accent2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9F9C1892-DDAA-4667-93C3-0FD6473F7769}"/>
                </a:ext>
              </a:extLst>
            </p:cNvPr>
            <p:cNvSpPr/>
            <p:nvPr/>
          </p:nvSpPr>
          <p:spPr>
            <a:xfrm>
              <a:off x="5985649" y="2459771"/>
              <a:ext cx="64102" cy="177877"/>
            </a:xfrm>
            <a:custGeom>
              <a:avLst/>
              <a:gdLst>
                <a:gd name="connsiteX0" fmla="*/ 5539 w 64102"/>
                <a:gd name="connsiteY0" fmla="*/ 41084 h 177877"/>
                <a:gd name="connsiteX1" fmla="*/ 40817 w 64102"/>
                <a:gd name="connsiteY1" fmla="*/ 0 h 177877"/>
                <a:gd name="connsiteX2" fmla="*/ 64103 w 64102"/>
                <a:gd name="connsiteY2" fmla="*/ 29218 h 177877"/>
                <a:gd name="connsiteX3" fmla="*/ 5602 w 64102"/>
                <a:gd name="connsiteY3" fmla="*/ 174161 h 177877"/>
                <a:gd name="connsiteX4" fmla="*/ 5539 w 64102"/>
                <a:gd name="connsiteY4" fmla="*/ 41084 h 17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02" h="177877">
                  <a:moveTo>
                    <a:pt x="5539" y="41084"/>
                  </a:moveTo>
                  <a:cubicBezTo>
                    <a:pt x="5539" y="41084"/>
                    <a:pt x="30993" y="7656"/>
                    <a:pt x="40817" y="0"/>
                  </a:cubicBezTo>
                  <a:cubicBezTo>
                    <a:pt x="54980" y="8229"/>
                    <a:pt x="64103" y="29218"/>
                    <a:pt x="64103" y="29218"/>
                  </a:cubicBezTo>
                  <a:cubicBezTo>
                    <a:pt x="64103" y="29218"/>
                    <a:pt x="53576" y="205421"/>
                    <a:pt x="5602" y="174161"/>
                  </a:cubicBezTo>
                  <a:cubicBezTo>
                    <a:pt x="-6965" y="113747"/>
                    <a:pt x="5539" y="41084"/>
                    <a:pt x="5539" y="4108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52664123-2725-4CFE-85C5-0666F650EC7E}"/>
                </a:ext>
              </a:extLst>
            </p:cNvPr>
            <p:cNvSpPr/>
            <p:nvPr/>
          </p:nvSpPr>
          <p:spPr>
            <a:xfrm>
              <a:off x="6015808" y="2494160"/>
              <a:ext cx="31578" cy="70172"/>
            </a:xfrm>
            <a:custGeom>
              <a:avLst/>
              <a:gdLst>
                <a:gd name="connsiteX0" fmla="*/ 16906 w 31578"/>
                <a:gd name="connsiteY0" fmla="*/ 70172 h 70172"/>
                <a:gd name="connsiteX1" fmla="*/ 15247 w 31578"/>
                <a:gd name="connsiteY1" fmla="*/ 45419 h 70172"/>
                <a:gd name="connsiteX2" fmla="*/ 11355 w 31578"/>
                <a:gd name="connsiteY2" fmla="*/ 35531 h 70172"/>
                <a:gd name="connsiteX3" fmla="*/ 4210 w 31578"/>
                <a:gd name="connsiteY3" fmla="*/ 28832 h 70172"/>
                <a:gd name="connsiteX4" fmla="*/ 0 w 31578"/>
                <a:gd name="connsiteY4" fmla="*/ 26345 h 70172"/>
                <a:gd name="connsiteX5" fmla="*/ 1659 w 31578"/>
                <a:gd name="connsiteY5" fmla="*/ 22325 h 70172"/>
                <a:gd name="connsiteX6" fmla="*/ 12504 w 31578"/>
                <a:gd name="connsiteY6" fmla="*/ 4654 h 70172"/>
                <a:gd name="connsiteX7" fmla="*/ 17225 w 31578"/>
                <a:gd name="connsiteY7" fmla="*/ 1273 h 70172"/>
                <a:gd name="connsiteX8" fmla="*/ 23349 w 31578"/>
                <a:gd name="connsiteY8" fmla="*/ 61 h 70172"/>
                <a:gd name="connsiteX9" fmla="*/ 31579 w 31578"/>
                <a:gd name="connsiteY9" fmla="*/ 6759 h 70172"/>
                <a:gd name="connsiteX10" fmla="*/ 23540 w 31578"/>
                <a:gd name="connsiteY10" fmla="*/ 4718 h 70172"/>
                <a:gd name="connsiteX11" fmla="*/ 18373 w 31578"/>
                <a:gd name="connsiteY11" fmla="*/ 9694 h 70172"/>
                <a:gd name="connsiteX12" fmla="*/ 11738 w 31578"/>
                <a:gd name="connsiteY12" fmla="*/ 25962 h 70172"/>
                <a:gd name="connsiteX13" fmla="*/ 9187 w 31578"/>
                <a:gd name="connsiteY13" fmla="*/ 19455 h 70172"/>
                <a:gd name="connsiteX14" fmla="*/ 20606 w 31578"/>
                <a:gd name="connsiteY14" fmla="*/ 30044 h 70172"/>
                <a:gd name="connsiteX15" fmla="*/ 24561 w 31578"/>
                <a:gd name="connsiteY15" fmla="*/ 44398 h 70172"/>
                <a:gd name="connsiteX16" fmla="*/ 22711 w 31578"/>
                <a:gd name="connsiteY16" fmla="*/ 58178 h 70172"/>
                <a:gd name="connsiteX17" fmla="*/ 16906 w 31578"/>
                <a:gd name="connsiteY17" fmla="*/ 70172 h 7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578" h="70172">
                  <a:moveTo>
                    <a:pt x="16906" y="70172"/>
                  </a:moveTo>
                  <a:cubicBezTo>
                    <a:pt x="16969" y="61304"/>
                    <a:pt x="17033" y="52883"/>
                    <a:pt x="15247" y="45419"/>
                  </a:cubicBezTo>
                  <a:cubicBezTo>
                    <a:pt x="14418" y="41719"/>
                    <a:pt x="13142" y="38338"/>
                    <a:pt x="11355" y="35531"/>
                  </a:cubicBezTo>
                  <a:cubicBezTo>
                    <a:pt x="9505" y="32724"/>
                    <a:pt x="7145" y="30555"/>
                    <a:pt x="4210" y="28832"/>
                  </a:cubicBezTo>
                  <a:lnTo>
                    <a:pt x="0" y="26345"/>
                  </a:lnTo>
                  <a:lnTo>
                    <a:pt x="1659" y="22325"/>
                  </a:lnTo>
                  <a:cubicBezTo>
                    <a:pt x="4146" y="16137"/>
                    <a:pt x="7209" y="9949"/>
                    <a:pt x="12504" y="4654"/>
                  </a:cubicBezTo>
                  <a:cubicBezTo>
                    <a:pt x="13843" y="3378"/>
                    <a:pt x="15438" y="2230"/>
                    <a:pt x="17225" y="1273"/>
                  </a:cubicBezTo>
                  <a:cubicBezTo>
                    <a:pt x="19011" y="380"/>
                    <a:pt x="21244" y="-194"/>
                    <a:pt x="23349" y="61"/>
                  </a:cubicBezTo>
                  <a:cubicBezTo>
                    <a:pt x="27687" y="571"/>
                    <a:pt x="30430" y="3697"/>
                    <a:pt x="31579" y="6759"/>
                  </a:cubicBezTo>
                  <a:cubicBezTo>
                    <a:pt x="28899" y="4846"/>
                    <a:pt x="25709" y="3952"/>
                    <a:pt x="23540" y="4718"/>
                  </a:cubicBezTo>
                  <a:cubicBezTo>
                    <a:pt x="21435" y="5483"/>
                    <a:pt x="19776" y="7333"/>
                    <a:pt x="18373" y="9694"/>
                  </a:cubicBezTo>
                  <a:cubicBezTo>
                    <a:pt x="15502" y="14351"/>
                    <a:pt x="13652" y="20220"/>
                    <a:pt x="11738" y="25962"/>
                  </a:cubicBezTo>
                  <a:lnTo>
                    <a:pt x="9187" y="19455"/>
                  </a:lnTo>
                  <a:cubicBezTo>
                    <a:pt x="13843" y="21687"/>
                    <a:pt x="17990" y="25515"/>
                    <a:pt x="20606" y="30044"/>
                  </a:cubicBezTo>
                  <a:cubicBezTo>
                    <a:pt x="23158" y="34638"/>
                    <a:pt x="24370" y="39614"/>
                    <a:pt x="24561" y="44398"/>
                  </a:cubicBezTo>
                  <a:cubicBezTo>
                    <a:pt x="24689" y="49183"/>
                    <a:pt x="24051" y="53777"/>
                    <a:pt x="22711" y="58178"/>
                  </a:cubicBezTo>
                  <a:cubicBezTo>
                    <a:pt x="21307" y="62389"/>
                    <a:pt x="19521" y="66536"/>
                    <a:pt x="16906" y="7017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F1E6B06F-B68A-41A3-A6B1-9C2EE219DECE}"/>
                </a:ext>
              </a:extLst>
            </p:cNvPr>
            <p:cNvSpPr/>
            <p:nvPr/>
          </p:nvSpPr>
          <p:spPr>
            <a:xfrm>
              <a:off x="5404398" y="2459771"/>
              <a:ext cx="80448" cy="177877"/>
            </a:xfrm>
            <a:custGeom>
              <a:avLst/>
              <a:gdLst>
                <a:gd name="connsiteX0" fmla="*/ 73492 w 80448"/>
                <a:gd name="connsiteY0" fmla="*/ 41084 h 177877"/>
                <a:gd name="connsiteX1" fmla="*/ 29218 w 80448"/>
                <a:gd name="connsiteY1" fmla="*/ 0 h 177877"/>
                <a:gd name="connsiteX2" fmla="*/ 0 w 80448"/>
                <a:gd name="connsiteY2" fmla="*/ 29218 h 177877"/>
                <a:gd name="connsiteX3" fmla="*/ 73429 w 80448"/>
                <a:gd name="connsiteY3" fmla="*/ 174161 h 177877"/>
                <a:gd name="connsiteX4" fmla="*/ 73492 w 80448"/>
                <a:gd name="connsiteY4" fmla="*/ 41084 h 17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48" h="177877">
                  <a:moveTo>
                    <a:pt x="73492" y="41084"/>
                  </a:moveTo>
                  <a:cubicBezTo>
                    <a:pt x="73492" y="41084"/>
                    <a:pt x="41531" y="7656"/>
                    <a:pt x="29218" y="0"/>
                  </a:cubicBezTo>
                  <a:cubicBezTo>
                    <a:pt x="11420" y="8229"/>
                    <a:pt x="0" y="29218"/>
                    <a:pt x="0" y="29218"/>
                  </a:cubicBezTo>
                  <a:cubicBezTo>
                    <a:pt x="0" y="29218"/>
                    <a:pt x="13206" y="205421"/>
                    <a:pt x="73429" y="174161"/>
                  </a:cubicBezTo>
                  <a:cubicBezTo>
                    <a:pt x="89186" y="113747"/>
                    <a:pt x="73492" y="41084"/>
                    <a:pt x="73492" y="4108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01066EC-5DC7-4C92-9105-E71A71D2C368}"/>
                </a:ext>
              </a:extLst>
            </p:cNvPr>
            <p:cNvSpPr/>
            <p:nvPr/>
          </p:nvSpPr>
          <p:spPr>
            <a:xfrm>
              <a:off x="5429783" y="2493667"/>
              <a:ext cx="39234" cy="70664"/>
            </a:xfrm>
            <a:custGeom>
              <a:avLst/>
              <a:gdLst>
                <a:gd name="connsiteX0" fmla="*/ 18437 w 39234"/>
                <a:gd name="connsiteY0" fmla="*/ 70664 h 70664"/>
                <a:gd name="connsiteX1" fmla="*/ 11547 w 39234"/>
                <a:gd name="connsiteY1" fmla="*/ 58224 h 70664"/>
                <a:gd name="connsiteX2" fmla="*/ 9697 w 39234"/>
                <a:gd name="connsiteY2" fmla="*/ 43360 h 70664"/>
                <a:gd name="connsiteX3" fmla="*/ 11611 w 39234"/>
                <a:gd name="connsiteY3" fmla="*/ 35513 h 70664"/>
                <a:gd name="connsiteX4" fmla="*/ 15758 w 39234"/>
                <a:gd name="connsiteY4" fmla="*/ 28304 h 70664"/>
                <a:gd name="connsiteX5" fmla="*/ 28963 w 39234"/>
                <a:gd name="connsiteY5" fmla="*/ 18990 h 70664"/>
                <a:gd name="connsiteX6" fmla="*/ 25774 w 39234"/>
                <a:gd name="connsiteY6" fmla="*/ 26964 h 70664"/>
                <a:gd name="connsiteX7" fmla="*/ 21691 w 39234"/>
                <a:gd name="connsiteY7" fmla="*/ 17905 h 70664"/>
                <a:gd name="connsiteX8" fmla="*/ 16587 w 39234"/>
                <a:gd name="connsiteY8" fmla="*/ 10059 h 70664"/>
                <a:gd name="connsiteX9" fmla="*/ 9633 w 39234"/>
                <a:gd name="connsiteY9" fmla="*/ 5401 h 70664"/>
                <a:gd name="connsiteX10" fmla="*/ 0 w 39234"/>
                <a:gd name="connsiteY10" fmla="*/ 7188 h 70664"/>
                <a:gd name="connsiteX11" fmla="*/ 9506 w 39234"/>
                <a:gd name="connsiteY11" fmla="*/ 234 h 70664"/>
                <a:gd name="connsiteX12" fmla="*/ 22137 w 39234"/>
                <a:gd name="connsiteY12" fmla="*/ 3488 h 70664"/>
                <a:gd name="connsiteX13" fmla="*/ 30749 w 39234"/>
                <a:gd name="connsiteY13" fmla="*/ 12164 h 70664"/>
                <a:gd name="connsiteX14" fmla="*/ 36746 w 39234"/>
                <a:gd name="connsiteY14" fmla="*/ 22116 h 70664"/>
                <a:gd name="connsiteX15" fmla="*/ 39234 w 39234"/>
                <a:gd name="connsiteY15" fmla="*/ 27284 h 70664"/>
                <a:gd name="connsiteX16" fmla="*/ 33620 w 39234"/>
                <a:gd name="connsiteY16" fmla="*/ 30091 h 70664"/>
                <a:gd name="connsiteX17" fmla="*/ 25072 w 39234"/>
                <a:gd name="connsiteY17" fmla="*/ 36215 h 70664"/>
                <a:gd name="connsiteX18" fmla="*/ 22073 w 39234"/>
                <a:gd name="connsiteY18" fmla="*/ 40298 h 70664"/>
                <a:gd name="connsiteX19" fmla="*/ 20032 w 39234"/>
                <a:gd name="connsiteY19" fmla="*/ 45274 h 70664"/>
                <a:gd name="connsiteX20" fmla="*/ 18437 w 39234"/>
                <a:gd name="connsiteY20" fmla="*/ 70664 h 7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9234" h="70664">
                  <a:moveTo>
                    <a:pt x="18437" y="70664"/>
                  </a:moveTo>
                  <a:cubicBezTo>
                    <a:pt x="15247" y="67092"/>
                    <a:pt x="13078" y="62817"/>
                    <a:pt x="11547" y="58224"/>
                  </a:cubicBezTo>
                  <a:cubicBezTo>
                    <a:pt x="10016" y="53631"/>
                    <a:pt x="9314" y="48655"/>
                    <a:pt x="9697" y="43360"/>
                  </a:cubicBezTo>
                  <a:cubicBezTo>
                    <a:pt x="10016" y="40744"/>
                    <a:pt x="10654" y="38128"/>
                    <a:pt x="11611" y="35513"/>
                  </a:cubicBezTo>
                  <a:cubicBezTo>
                    <a:pt x="12504" y="32898"/>
                    <a:pt x="14035" y="30473"/>
                    <a:pt x="15758" y="28304"/>
                  </a:cubicBezTo>
                  <a:cubicBezTo>
                    <a:pt x="19266" y="23902"/>
                    <a:pt x="24115" y="20840"/>
                    <a:pt x="28963" y="18990"/>
                  </a:cubicBezTo>
                  <a:lnTo>
                    <a:pt x="25774" y="26964"/>
                  </a:lnTo>
                  <a:cubicBezTo>
                    <a:pt x="24434" y="23838"/>
                    <a:pt x="23222" y="20712"/>
                    <a:pt x="21691" y="17905"/>
                  </a:cubicBezTo>
                  <a:cubicBezTo>
                    <a:pt x="20096" y="15098"/>
                    <a:pt x="18629" y="12228"/>
                    <a:pt x="16587" y="10059"/>
                  </a:cubicBezTo>
                  <a:cubicBezTo>
                    <a:pt x="14673" y="7762"/>
                    <a:pt x="12440" y="6103"/>
                    <a:pt x="9633" y="5401"/>
                  </a:cubicBezTo>
                  <a:cubicBezTo>
                    <a:pt x="6826" y="4764"/>
                    <a:pt x="3317" y="5401"/>
                    <a:pt x="0" y="7188"/>
                  </a:cubicBezTo>
                  <a:cubicBezTo>
                    <a:pt x="1723" y="3870"/>
                    <a:pt x="5104" y="1000"/>
                    <a:pt x="9506" y="234"/>
                  </a:cubicBezTo>
                  <a:cubicBezTo>
                    <a:pt x="13971" y="-659"/>
                    <a:pt x="18692" y="1127"/>
                    <a:pt x="22137" y="3488"/>
                  </a:cubicBezTo>
                  <a:cubicBezTo>
                    <a:pt x="25646" y="5976"/>
                    <a:pt x="28517" y="8910"/>
                    <a:pt x="30749" y="12164"/>
                  </a:cubicBezTo>
                  <a:cubicBezTo>
                    <a:pt x="33046" y="15354"/>
                    <a:pt x="35087" y="18671"/>
                    <a:pt x="36746" y="22116"/>
                  </a:cubicBezTo>
                  <a:lnTo>
                    <a:pt x="39234" y="27284"/>
                  </a:lnTo>
                  <a:lnTo>
                    <a:pt x="33620" y="30091"/>
                  </a:lnTo>
                  <a:cubicBezTo>
                    <a:pt x="30239" y="31749"/>
                    <a:pt x="27241" y="33663"/>
                    <a:pt x="25072" y="36215"/>
                  </a:cubicBezTo>
                  <a:cubicBezTo>
                    <a:pt x="23860" y="37427"/>
                    <a:pt x="22967" y="38831"/>
                    <a:pt x="22073" y="40298"/>
                  </a:cubicBezTo>
                  <a:cubicBezTo>
                    <a:pt x="21244" y="41829"/>
                    <a:pt x="20478" y="43487"/>
                    <a:pt x="20032" y="45274"/>
                  </a:cubicBezTo>
                  <a:cubicBezTo>
                    <a:pt x="17671" y="52546"/>
                    <a:pt x="17863" y="61350"/>
                    <a:pt x="18437" y="7066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C2DB607C-2A5A-4AE5-9D24-0903EFD96121}"/>
                </a:ext>
              </a:extLst>
            </p:cNvPr>
            <p:cNvSpPr/>
            <p:nvPr/>
          </p:nvSpPr>
          <p:spPr>
            <a:xfrm>
              <a:off x="5640563" y="2705396"/>
              <a:ext cx="22264" cy="19827"/>
            </a:xfrm>
            <a:custGeom>
              <a:avLst/>
              <a:gdLst>
                <a:gd name="connsiteX0" fmla="*/ 0 w 22264"/>
                <a:gd name="connsiteY0" fmla="*/ 19827 h 19827"/>
                <a:gd name="connsiteX1" fmla="*/ 6252 w 22264"/>
                <a:gd name="connsiteY1" fmla="*/ 2283 h 19827"/>
                <a:gd name="connsiteX2" fmla="*/ 22265 w 22264"/>
                <a:gd name="connsiteY2" fmla="*/ 1199 h 19827"/>
                <a:gd name="connsiteX3" fmla="*/ 0 w 22264"/>
                <a:gd name="connsiteY3" fmla="*/ 19827 h 1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64" h="19827">
                  <a:moveTo>
                    <a:pt x="0" y="19827"/>
                  </a:moveTo>
                  <a:cubicBezTo>
                    <a:pt x="0" y="19827"/>
                    <a:pt x="638" y="6621"/>
                    <a:pt x="6252" y="2283"/>
                  </a:cubicBezTo>
                  <a:cubicBezTo>
                    <a:pt x="11866" y="-2119"/>
                    <a:pt x="22265" y="1199"/>
                    <a:pt x="22265" y="1199"/>
                  </a:cubicBezTo>
                  <a:lnTo>
                    <a:pt x="0" y="1982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9CE925D6-5281-423A-921D-877DB76B405E}"/>
                </a:ext>
              </a:extLst>
            </p:cNvPr>
            <p:cNvSpPr/>
            <p:nvPr/>
          </p:nvSpPr>
          <p:spPr>
            <a:xfrm>
              <a:off x="5641775" y="2951506"/>
              <a:ext cx="110493" cy="97670"/>
            </a:xfrm>
            <a:custGeom>
              <a:avLst/>
              <a:gdLst>
                <a:gd name="connsiteX0" fmla="*/ 0 w 110493"/>
                <a:gd name="connsiteY0" fmla="*/ 68006 h 97670"/>
                <a:gd name="connsiteX1" fmla="*/ 33046 w 110493"/>
                <a:gd name="connsiteY1" fmla="*/ 0 h 97670"/>
                <a:gd name="connsiteX2" fmla="*/ 110494 w 110493"/>
                <a:gd name="connsiteY2" fmla="*/ 28197 h 97670"/>
                <a:gd name="connsiteX3" fmla="*/ 73747 w 110493"/>
                <a:gd name="connsiteY3" fmla="*/ 97671 h 9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93" h="97670">
                  <a:moveTo>
                    <a:pt x="0" y="68006"/>
                  </a:moveTo>
                  <a:lnTo>
                    <a:pt x="33046" y="0"/>
                  </a:lnTo>
                  <a:lnTo>
                    <a:pt x="110494" y="28197"/>
                  </a:lnTo>
                  <a:lnTo>
                    <a:pt x="73747" y="97671"/>
                  </a:lnTo>
                  <a:close/>
                </a:path>
              </a:pathLst>
            </a:custGeom>
            <a:solidFill>
              <a:srgbClr val="F7F7F7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E9159046-A810-4A9B-80D7-9343C16E8C1C}"/>
                </a:ext>
              </a:extLst>
            </p:cNvPr>
            <p:cNvSpPr/>
            <p:nvPr/>
          </p:nvSpPr>
          <p:spPr>
            <a:xfrm>
              <a:off x="5752269" y="2951506"/>
              <a:ext cx="104305" cy="99903"/>
            </a:xfrm>
            <a:custGeom>
              <a:avLst/>
              <a:gdLst>
                <a:gd name="connsiteX0" fmla="*/ 34258 w 104305"/>
                <a:gd name="connsiteY0" fmla="*/ 99903 h 99903"/>
                <a:gd name="connsiteX1" fmla="*/ 0 w 104305"/>
                <a:gd name="connsiteY1" fmla="*/ 28197 h 99903"/>
                <a:gd name="connsiteX2" fmla="*/ 68070 w 104305"/>
                <a:gd name="connsiteY2" fmla="*/ 0 h 99903"/>
                <a:gd name="connsiteX3" fmla="*/ 104305 w 104305"/>
                <a:gd name="connsiteY3" fmla="*/ 56459 h 9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05" h="99903">
                  <a:moveTo>
                    <a:pt x="34258" y="99903"/>
                  </a:moveTo>
                  <a:lnTo>
                    <a:pt x="0" y="28197"/>
                  </a:lnTo>
                  <a:lnTo>
                    <a:pt x="68070" y="0"/>
                  </a:lnTo>
                  <a:lnTo>
                    <a:pt x="104305" y="56459"/>
                  </a:lnTo>
                  <a:close/>
                </a:path>
              </a:pathLst>
            </a:custGeom>
            <a:solidFill>
              <a:srgbClr val="F7F7F7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  <p:grpSp>
          <p:nvGrpSpPr>
            <p:cNvPr id="211" name="Graphic 4">
              <a:extLst>
                <a:ext uri="{FF2B5EF4-FFF2-40B4-BE49-F238E27FC236}">
                  <a16:creationId xmlns:a16="http://schemas.microsoft.com/office/drawing/2014/main" id="{48056AD7-7D15-4D3A-AFFE-9C9C4640FC45}"/>
                </a:ext>
              </a:extLst>
            </p:cNvPr>
            <p:cNvGrpSpPr/>
            <p:nvPr/>
          </p:nvGrpSpPr>
          <p:grpSpPr>
            <a:xfrm>
              <a:off x="5464616" y="2020987"/>
              <a:ext cx="570011" cy="337923"/>
              <a:chOff x="16693656" y="5446815"/>
              <a:chExt cx="570011" cy="337923"/>
            </a:xfrm>
            <a:solidFill>
              <a:schemeClr val="accent5"/>
            </a:solidFill>
          </p:grpSpPr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37D12875-97A9-49A1-B845-092E3F4212CE}"/>
                  </a:ext>
                </a:extLst>
              </p:cNvPr>
              <p:cNvSpPr/>
              <p:nvPr/>
            </p:nvSpPr>
            <p:spPr>
              <a:xfrm>
                <a:off x="16693656" y="5749970"/>
                <a:ext cx="61116" cy="34768"/>
              </a:xfrm>
              <a:custGeom>
                <a:avLst/>
                <a:gdLst>
                  <a:gd name="connsiteX0" fmla="*/ 59202 w 61116"/>
                  <a:gd name="connsiteY0" fmla="*/ 34769 h 34768"/>
                  <a:gd name="connsiteX1" fmla="*/ 61116 w 61116"/>
                  <a:gd name="connsiteY1" fmla="*/ 24242 h 34768"/>
                  <a:gd name="connsiteX2" fmla="*/ 4083 w 61116"/>
                  <a:gd name="connsiteY2" fmla="*/ 0 h 34768"/>
                  <a:gd name="connsiteX3" fmla="*/ 0 w 61116"/>
                  <a:gd name="connsiteY3" fmla="*/ 9250 h 34768"/>
                  <a:gd name="connsiteX4" fmla="*/ 59202 w 61116"/>
                  <a:gd name="connsiteY4" fmla="*/ 34769 h 34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116" h="34768">
                    <a:moveTo>
                      <a:pt x="59202" y="34769"/>
                    </a:moveTo>
                    <a:cubicBezTo>
                      <a:pt x="59776" y="31260"/>
                      <a:pt x="60414" y="27687"/>
                      <a:pt x="61116" y="24242"/>
                    </a:cubicBezTo>
                    <a:cubicBezTo>
                      <a:pt x="48867" y="16332"/>
                      <a:pt x="28006" y="4849"/>
                      <a:pt x="4083" y="0"/>
                    </a:cubicBezTo>
                    <a:cubicBezTo>
                      <a:pt x="2743" y="2999"/>
                      <a:pt x="1340" y="6124"/>
                      <a:pt x="0" y="9250"/>
                    </a:cubicBezTo>
                    <a:cubicBezTo>
                      <a:pt x="25646" y="13907"/>
                      <a:pt x="48165" y="27241"/>
                      <a:pt x="59202" y="34769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F24475B0-48D2-41F8-93FC-33713C9C2427}"/>
                  </a:ext>
                </a:extLst>
              </p:cNvPr>
              <p:cNvSpPr/>
              <p:nvPr/>
            </p:nvSpPr>
            <p:spPr>
              <a:xfrm>
                <a:off x="16754772" y="5603177"/>
                <a:ext cx="65007" cy="65135"/>
              </a:xfrm>
              <a:custGeom>
                <a:avLst/>
                <a:gdLst>
                  <a:gd name="connsiteX0" fmla="*/ 3126 w 65007"/>
                  <a:gd name="connsiteY0" fmla="*/ 0 h 65135"/>
                  <a:gd name="connsiteX1" fmla="*/ 0 w 65007"/>
                  <a:gd name="connsiteY1" fmla="*/ 11930 h 65135"/>
                  <a:gd name="connsiteX2" fmla="*/ 56459 w 65007"/>
                  <a:gd name="connsiteY2" fmla="*/ 65135 h 65135"/>
                  <a:gd name="connsiteX3" fmla="*/ 65007 w 65007"/>
                  <a:gd name="connsiteY3" fmla="*/ 59202 h 65135"/>
                  <a:gd name="connsiteX4" fmla="*/ 3126 w 65007"/>
                  <a:gd name="connsiteY4" fmla="*/ 0 h 65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007" h="65135">
                    <a:moveTo>
                      <a:pt x="3126" y="0"/>
                    </a:moveTo>
                    <a:cubicBezTo>
                      <a:pt x="2041" y="4083"/>
                      <a:pt x="957" y="8038"/>
                      <a:pt x="0" y="11930"/>
                    </a:cubicBezTo>
                    <a:cubicBezTo>
                      <a:pt x="19075" y="34195"/>
                      <a:pt x="41020" y="53078"/>
                      <a:pt x="56459" y="65135"/>
                    </a:cubicBezTo>
                    <a:cubicBezTo>
                      <a:pt x="59202" y="63094"/>
                      <a:pt x="62009" y="61116"/>
                      <a:pt x="65007" y="59202"/>
                    </a:cubicBezTo>
                    <a:cubicBezTo>
                      <a:pt x="48803" y="46507"/>
                      <a:pt x="23540" y="25008"/>
                      <a:pt x="3126" y="0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5807BD5E-2C20-49AE-AC15-86539FA68DAB}"/>
                  </a:ext>
                </a:extLst>
              </p:cNvPr>
              <p:cNvSpPr/>
              <p:nvPr/>
            </p:nvSpPr>
            <p:spPr>
              <a:xfrm>
                <a:off x="17083637" y="5527005"/>
                <a:ext cx="74768" cy="114129"/>
              </a:xfrm>
              <a:custGeom>
                <a:avLst/>
                <a:gdLst>
                  <a:gd name="connsiteX0" fmla="*/ 69473 w 74768"/>
                  <a:gd name="connsiteY0" fmla="*/ 0 h 114129"/>
                  <a:gd name="connsiteX1" fmla="*/ 0 w 74768"/>
                  <a:gd name="connsiteY1" fmla="*/ 111578 h 114129"/>
                  <a:gd name="connsiteX2" fmla="*/ 9442 w 74768"/>
                  <a:gd name="connsiteY2" fmla="*/ 114130 h 114129"/>
                  <a:gd name="connsiteX3" fmla="*/ 74768 w 74768"/>
                  <a:gd name="connsiteY3" fmla="*/ 8166 h 114129"/>
                  <a:gd name="connsiteX4" fmla="*/ 69473 w 74768"/>
                  <a:gd name="connsiteY4" fmla="*/ 0 h 114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68" h="114129">
                    <a:moveTo>
                      <a:pt x="69473" y="0"/>
                    </a:moveTo>
                    <a:cubicBezTo>
                      <a:pt x="30622" y="32408"/>
                      <a:pt x="10271" y="77001"/>
                      <a:pt x="0" y="111578"/>
                    </a:cubicBezTo>
                    <a:cubicBezTo>
                      <a:pt x="3190" y="112407"/>
                      <a:pt x="6380" y="113237"/>
                      <a:pt x="9442" y="114130"/>
                    </a:cubicBezTo>
                    <a:cubicBezTo>
                      <a:pt x="19266" y="81276"/>
                      <a:pt x="38341" y="38915"/>
                      <a:pt x="74768" y="8166"/>
                    </a:cubicBezTo>
                    <a:cubicBezTo>
                      <a:pt x="72982" y="5359"/>
                      <a:pt x="71195" y="2616"/>
                      <a:pt x="69473" y="0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7452E4FC-0097-4848-B859-F537DEE53AB3}"/>
                  </a:ext>
                </a:extLst>
              </p:cNvPr>
              <p:cNvSpPr/>
              <p:nvPr/>
            </p:nvSpPr>
            <p:spPr>
              <a:xfrm>
                <a:off x="16928461" y="5446815"/>
                <a:ext cx="21397" cy="182582"/>
              </a:xfrm>
              <a:custGeom>
                <a:avLst/>
                <a:gdLst>
                  <a:gd name="connsiteX0" fmla="*/ 21397 w 21397"/>
                  <a:gd name="connsiteY0" fmla="*/ 0 h 182582"/>
                  <a:gd name="connsiteX1" fmla="*/ 10552 w 21397"/>
                  <a:gd name="connsiteY1" fmla="*/ 3190 h 182582"/>
                  <a:gd name="connsiteX2" fmla="*/ 1556 w 21397"/>
                  <a:gd name="connsiteY2" fmla="*/ 182582 h 182582"/>
                  <a:gd name="connsiteX3" fmla="*/ 11445 w 21397"/>
                  <a:gd name="connsiteY3" fmla="*/ 181689 h 182582"/>
                  <a:gd name="connsiteX4" fmla="*/ 21397 w 21397"/>
                  <a:gd name="connsiteY4" fmla="*/ 0 h 182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97" h="182582">
                    <a:moveTo>
                      <a:pt x="21397" y="0"/>
                    </a:moveTo>
                    <a:cubicBezTo>
                      <a:pt x="17824" y="1084"/>
                      <a:pt x="14188" y="2105"/>
                      <a:pt x="10552" y="3190"/>
                    </a:cubicBezTo>
                    <a:cubicBezTo>
                      <a:pt x="-2526" y="66028"/>
                      <a:pt x="-612" y="143412"/>
                      <a:pt x="1556" y="182582"/>
                    </a:cubicBezTo>
                    <a:cubicBezTo>
                      <a:pt x="4810" y="182263"/>
                      <a:pt x="8000" y="181880"/>
                      <a:pt x="11445" y="181689"/>
                    </a:cubicBezTo>
                    <a:cubicBezTo>
                      <a:pt x="9340" y="141689"/>
                      <a:pt x="7553" y="61881"/>
                      <a:pt x="21397" y="0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95B37B6C-4065-4906-B031-1E445DD4B559}"/>
                  </a:ext>
                </a:extLst>
              </p:cNvPr>
              <p:cNvSpPr/>
              <p:nvPr/>
            </p:nvSpPr>
            <p:spPr>
              <a:xfrm>
                <a:off x="17207719" y="5718391"/>
                <a:ext cx="55948" cy="49441"/>
              </a:xfrm>
              <a:custGeom>
                <a:avLst/>
                <a:gdLst>
                  <a:gd name="connsiteX0" fmla="*/ 55949 w 55948"/>
                  <a:gd name="connsiteY0" fmla="*/ 8995 h 49441"/>
                  <a:gd name="connsiteX1" fmla="*/ 50909 w 55948"/>
                  <a:gd name="connsiteY1" fmla="*/ 0 h 49441"/>
                  <a:gd name="connsiteX2" fmla="*/ 0 w 55948"/>
                  <a:gd name="connsiteY2" fmla="*/ 36874 h 49441"/>
                  <a:gd name="connsiteX3" fmla="*/ 1595 w 55948"/>
                  <a:gd name="connsiteY3" fmla="*/ 49441 h 49441"/>
                  <a:gd name="connsiteX4" fmla="*/ 55949 w 55948"/>
                  <a:gd name="connsiteY4" fmla="*/ 8995 h 49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48" h="49441">
                    <a:moveTo>
                      <a:pt x="55949" y="8995"/>
                    </a:moveTo>
                    <a:cubicBezTo>
                      <a:pt x="54354" y="6061"/>
                      <a:pt x="52695" y="3062"/>
                      <a:pt x="50909" y="0"/>
                    </a:cubicBezTo>
                    <a:cubicBezTo>
                      <a:pt x="30239" y="10718"/>
                      <a:pt x="12887" y="24625"/>
                      <a:pt x="0" y="36874"/>
                    </a:cubicBezTo>
                    <a:cubicBezTo>
                      <a:pt x="638" y="40957"/>
                      <a:pt x="1148" y="45103"/>
                      <a:pt x="1595" y="49441"/>
                    </a:cubicBezTo>
                    <a:cubicBezTo>
                      <a:pt x="14418" y="36682"/>
                      <a:pt x="33110" y="20797"/>
                      <a:pt x="55949" y="8995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tr-TR"/>
              </a:p>
            </p:txBody>
          </p:sp>
        </p:grp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842950A9-B68B-43F8-8400-72178B7A2956}"/>
                </a:ext>
              </a:extLst>
            </p:cNvPr>
            <p:cNvSpPr/>
            <p:nvPr/>
          </p:nvSpPr>
          <p:spPr>
            <a:xfrm>
              <a:off x="5653833" y="2724203"/>
              <a:ext cx="177095" cy="61803"/>
            </a:xfrm>
            <a:custGeom>
              <a:avLst/>
              <a:gdLst>
                <a:gd name="connsiteX0" fmla="*/ 0 w 177095"/>
                <a:gd name="connsiteY0" fmla="*/ 0 h 61803"/>
                <a:gd name="connsiteX1" fmla="*/ 77575 w 177095"/>
                <a:gd name="connsiteY1" fmla="*/ 60606 h 61803"/>
                <a:gd name="connsiteX2" fmla="*/ 177096 w 177095"/>
                <a:gd name="connsiteY2" fmla="*/ 26794 h 61803"/>
                <a:gd name="connsiteX3" fmla="*/ 83955 w 177095"/>
                <a:gd name="connsiteY3" fmla="*/ 29728 h 61803"/>
                <a:gd name="connsiteX4" fmla="*/ 0 w 177095"/>
                <a:gd name="connsiteY4" fmla="*/ 0 h 61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095" h="61803">
                  <a:moveTo>
                    <a:pt x="0" y="0"/>
                  </a:moveTo>
                  <a:cubicBezTo>
                    <a:pt x="0" y="0"/>
                    <a:pt x="28134" y="51802"/>
                    <a:pt x="77575" y="60606"/>
                  </a:cubicBezTo>
                  <a:cubicBezTo>
                    <a:pt x="127080" y="69409"/>
                    <a:pt x="177096" y="26794"/>
                    <a:pt x="177096" y="26794"/>
                  </a:cubicBezTo>
                  <a:cubicBezTo>
                    <a:pt x="177096" y="26794"/>
                    <a:pt x="126059" y="36491"/>
                    <a:pt x="83955" y="29728"/>
                  </a:cubicBezTo>
                  <a:cubicBezTo>
                    <a:pt x="41913" y="2296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tr-TR"/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33736E71-C077-4C86-A245-7F622E873003}"/>
              </a:ext>
            </a:extLst>
          </p:cNvPr>
          <p:cNvGrpSpPr>
            <a:grpSpLocks/>
          </p:cNvGrpSpPr>
          <p:nvPr/>
        </p:nvGrpSpPr>
        <p:grpSpPr>
          <a:xfrm>
            <a:off x="460104" y="2074075"/>
            <a:ext cx="804005" cy="820166"/>
            <a:chOff x="554736" y="1825330"/>
            <a:chExt cx="1356685" cy="1383956"/>
          </a:xfrm>
        </p:grpSpPr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517290DC-C09D-4E36-9F65-1ECB346F3900}"/>
                </a:ext>
              </a:extLst>
            </p:cNvPr>
            <p:cNvSpPr>
              <a:spLocks/>
            </p:cNvSpPr>
            <p:nvPr/>
          </p:nvSpPr>
          <p:spPr>
            <a:xfrm>
              <a:off x="554736" y="1825330"/>
              <a:ext cx="1356685" cy="1383955"/>
            </a:xfrm>
            <a:prstGeom prst="ellipse">
              <a:avLst/>
            </a:prstGeom>
            <a:solidFill>
              <a:srgbClr val="FFFFFF"/>
            </a:solidFill>
            <a:ln w="6350" cap="sq" cmpd="sng" algn="ctr">
              <a:solidFill>
                <a:srgbClr val="D0D0D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E87B09C3-CAD4-4999-A42F-507DAA941D13}"/>
                </a:ext>
              </a:extLst>
            </p:cNvPr>
            <p:cNvGrpSpPr/>
            <p:nvPr/>
          </p:nvGrpSpPr>
          <p:grpSpPr>
            <a:xfrm>
              <a:off x="889945" y="3031144"/>
              <a:ext cx="639992" cy="178142"/>
              <a:chOff x="-761763" y="3031144"/>
              <a:chExt cx="639992" cy="178142"/>
            </a:xfrm>
            <a:solidFill>
              <a:srgbClr val="8A8A8A"/>
            </a:solidFill>
          </p:grpSpPr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7E622AF3-254F-46CA-92D2-FC9BD663D38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761763" y="3031144"/>
                <a:ext cx="390167" cy="167421"/>
              </a:xfrm>
              <a:custGeom>
                <a:avLst/>
                <a:gdLst>
                  <a:gd name="connsiteX0" fmla="*/ 370388 w 390167"/>
                  <a:gd name="connsiteY0" fmla="*/ 0 h 167421"/>
                  <a:gd name="connsiteX1" fmla="*/ 390167 w 390167"/>
                  <a:gd name="connsiteY1" fmla="*/ 1196 h 167421"/>
                  <a:gd name="connsiteX2" fmla="*/ 335888 w 390167"/>
                  <a:gd name="connsiteY2" fmla="*/ 22361 h 167421"/>
                  <a:gd name="connsiteX3" fmla="*/ 214485 w 390167"/>
                  <a:gd name="connsiteY3" fmla="*/ 17640 h 167421"/>
                  <a:gd name="connsiteX4" fmla="*/ 239548 w 390167"/>
                  <a:gd name="connsiteY4" fmla="*/ 167421 h 167421"/>
                  <a:gd name="connsiteX5" fmla="*/ 207089 w 390167"/>
                  <a:gd name="connsiteY5" fmla="*/ 164083 h 167421"/>
                  <a:gd name="connsiteX6" fmla="*/ 79758 w 390167"/>
                  <a:gd name="connsiteY6" fmla="*/ 123763 h 167421"/>
                  <a:gd name="connsiteX7" fmla="*/ 0 w 390167"/>
                  <a:gd name="connsiteY7" fmla="*/ 79602 h 167421"/>
                  <a:gd name="connsiteX8" fmla="*/ 45610 w 390167"/>
                  <a:gd name="connsiteY8" fmla="*/ 61810 h 167421"/>
                  <a:gd name="connsiteX9" fmla="*/ 370388 w 390167"/>
                  <a:gd name="connsiteY9" fmla="*/ 0 h 167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0167" h="167421">
                    <a:moveTo>
                      <a:pt x="370388" y="0"/>
                    </a:moveTo>
                    <a:lnTo>
                      <a:pt x="390167" y="1196"/>
                    </a:lnTo>
                    <a:lnTo>
                      <a:pt x="335888" y="22361"/>
                    </a:lnTo>
                    <a:lnTo>
                      <a:pt x="214485" y="17640"/>
                    </a:lnTo>
                    <a:lnTo>
                      <a:pt x="239548" y="167421"/>
                    </a:lnTo>
                    <a:lnTo>
                      <a:pt x="207089" y="164083"/>
                    </a:lnTo>
                    <a:cubicBezTo>
                      <a:pt x="162931" y="154866"/>
                      <a:pt x="120335" y="141271"/>
                      <a:pt x="79758" y="123763"/>
                    </a:cubicBezTo>
                    <a:lnTo>
                      <a:pt x="0" y="79602"/>
                    </a:lnTo>
                    <a:lnTo>
                      <a:pt x="45610" y="61810"/>
                    </a:lnTo>
                    <a:cubicBezTo>
                      <a:pt x="126039" y="33231"/>
                      <a:pt x="248091" y="1120"/>
                      <a:pt x="370388" y="0"/>
                    </a:cubicBezTo>
                    <a:close/>
                  </a:path>
                </a:pathLst>
              </a:custGeom>
              <a:solidFill>
                <a:srgbClr val="051C2C"/>
              </a:solidFill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442CF32A-0C81-447E-BB2E-5E0696D4DD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352801" y="3035058"/>
                <a:ext cx="231030" cy="167527"/>
              </a:xfrm>
              <a:custGeom>
                <a:avLst/>
                <a:gdLst>
                  <a:gd name="connsiteX0" fmla="*/ 26145 w 231030"/>
                  <a:gd name="connsiteY0" fmla="*/ 0 h 167527"/>
                  <a:gd name="connsiteX1" fmla="*/ 52548 w 231030"/>
                  <a:gd name="connsiteY1" fmla="*/ 1596 h 167527"/>
                  <a:gd name="connsiteX2" fmla="*/ 219555 w 231030"/>
                  <a:gd name="connsiteY2" fmla="*/ 60426 h 167527"/>
                  <a:gd name="connsiteX3" fmla="*/ 231030 w 231030"/>
                  <a:gd name="connsiteY3" fmla="*/ 102047 h 167527"/>
                  <a:gd name="connsiteX4" fmla="*/ 198879 w 231030"/>
                  <a:gd name="connsiteY4" fmla="*/ 119849 h 167527"/>
                  <a:gd name="connsiteX5" fmla="*/ 71547 w 231030"/>
                  <a:gd name="connsiteY5" fmla="*/ 160169 h 167527"/>
                  <a:gd name="connsiteX6" fmla="*/ 0 w 231030"/>
                  <a:gd name="connsiteY6" fmla="*/ 167527 h 167527"/>
                  <a:gd name="connsiteX7" fmla="*/ 26145 w 231030"/>
                  <a:gd name="connsiteY7" fmla="*/ 0 h 167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030" h="167527">
                    <a:moveTo>
                      <a:pt x="26145" y="0"/>
                    </a:moveTo>
                    <a:lnTo>
                      <a:pt x="52548" y="1596"/>
                    </a:lnTo>
                    <a:cubicBezTo>
                      <a:pt x="112466" y="9863"/>
                      <a:pt x="169859" y="28034"/>
                      <a:pt x="219555" y="60426"/>
                    </a:cubicBezTo>
                    <a:lnTo>
                      <a:pt x="231030" y="102047"/>
                    </a:lnTo>
                    <a:lnTo>
                      <a:pt x="198879" y="119849"/>
                    </a:lnTo>
                    <a:cubicBezTo>
                      <a:pt x="158301" y="137357"/>
                      <a:pt x="115705" y="150952"/>
                      <a:pt x="71547" y="160169"/>
                    </a:cubicBezTo>
                    <a:lnTo>
                      <a:pt x="0" y="167527"/>
                    </a:lnTo>
                    <a:lnTo>
                      <a:pt x="26145" y="0"/>
                    </a:lnTo>
                    <a:close/>
                  </a:path>
                </a:pathLst>
              </a:custGeom>
              <a:solidFill>
                <a:srgbClr val="051C2C"/>
              </a:solidFill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3ACB13FE-9CBA-404C-96C4-B1E2F6CF03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547278" y="3032340"/>
                <a:ext cx="220622" cy="176946"/>
              </a:xfrm>
              <a:custGeom>
                <a:avLst/>
                <a:gdLst>
                  <a:gd name="connsiteX0" fmla="*/ 175682 w 220622"/>
                  <a:gd name="connsiteY0" fmla="*/ 0 h 176946"/>
                  <a:gd name="connsiteX1" fmla="*/ 220622 w 220622"/>
                  <a:gd name="connsiteY1" fmla="*/ 2718 h 176946"/>
                  <a:gd name="connsiteX2" fmla="*/ 194477 w 220622"/>
                  <a:gd name="connsiteY2" fmla="*/ 170245 h 176946"/>
                  <a:gd name="connsiteX3" fmla="*/ 129314 w 220622"/>
                  <a:gd name="connsiteY3" fmla="*/ 176946 h 176946"/>
                  <a:gd name="connsiteX4" fmla="*/ 25063 w 220622"/>
                  <a:gd name="connsiteY4" fmla="*/ 166225 h 176946"/>
                  <a:gd name="connsiteX5" fmla="*/ 0 w 220622"/>
                  <a:gd name="connsiteY5" fmla="*/ 16444 h 176946"/>
                  <a:gd name="connsiteX6" fmla="*/ 121403 w 220622"/>
                  <a:gd name="connsiteY6" fmla="*/ 21165 h 176946"/>
                  <a:gd name="connsiteX7" fmla="*/ 175682 w 220622"/>
                  <a:gd name="connsiteY7" fmla="*/ 0 h 176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0622" h="176946">
                    <a:moveTo>
                      <a:pt x="175682" y="0"/>
                    </a:moveTo>
                    <a:lnTo>
                      <a:pt x="220622" y="2718"/>
                    </a:lnTo>
                    <a:lnTo>
                      <a:pt x="194477" y="170245"/>
                    </a:lnTo>
                    <a:lnTo>
                      <a:pt x="129314" y="176946"/>
                    </a:lnTo>
                    <a:lnTo>
                      <a:pt x="25063" y="166225"/>
                    </a:lnTo>
                    <a:lnTo>
                      <a:pt x="0" y="16444"/>
                    </a:lnTo>
                    <a:lnTo>
                      <a:pt x="121403" y="21165"/>
                    </a:lnTo>
                    <a:lnTo>
                      <a:pt x="175682" y="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sq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ED6072E8-053E-466A-B4D2-AAD3C63C766E}"/>
                </a:ext>
              </a:extLst>
            </p:cNvPr>
            <p:cNvSpPr/>
            <p:nvPr/>
          </p:nvSpPr>
          <p:spPr>
            <a:xfrm>
              <a:off x="1103000" y="2752710"/>
              <a:ext cx="224750" cy="363378"/>
            </a:xfrm>
            <a:custGeom>
              <a:avLst/>
              <a:gdLst>
                <a:gd name="connsiteX0" fmla="*/ 116235 w 224750"/>
                <a:gd name="connsiteY0" fmla="*/ 363378 h 363378"/>
                <a:gd name="connsiteX1" fmla="*/ 224751 w 224750"/>
                <a:gd name="connsiteY1" fmla="*/ 260859 h 363378"/>
                <a:gd name="connsiteX2" fmla="*/ 224751 w 224750"/>
                <a:gd name="connsiteY2" fmla="*/ 0 h 363378"/>
                <a:gd name="connsiteX3" fmla="*/ 0 w 224750"/>
                <a:gd name="connsiteY3" fmla="*/ 21244 h 363378"/>
                <a:gd name="connsiteX4" fmla="*/ 702 w 224750"/>
                <a:gd name="connsiteY4" fmla="*/ 296138 h 363378"/>
                <a:gd name="connsiteX5" fmla="*/ 116235 w 224750"/>
                <a:gd name="connsiteY5" fmla="*/ 363378 h 363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50" h="363378">
                  <a:moveTo>
                    <a:pt x="116235" y="363378"/>
                  </a:moveTo>
                  <a:cubicBezTo>
                    <a:pt x="153492" y="363378"/>
                    <a:pt x="224751" y="260859"/>
                    <a:pt x="224751" y="260859"/>
                  </a:cubicBezTo>
                  <a:lnTo>
                    <a:pt x="224751" y="0"/>
                  </a:lnTo>
                  <a:lnTo>
                    <a:pt x="0" y="21244"/>
                  </a:lnTo>
                  <a:lnTo>
                    <a:pt x="702" y="296138"/>
                  </a:lnTo>
                  <a:cubicBezTo>
                    <a:pt x="766" y="296138"/>
                    <a:pt x="71642" y="363378"/>
                    <a:pt x="116235" y="363378"/>
                  </a:cubicBezTo>
                  <a:close/>
                </a:path>
              </a:pathLst>
            </a:custGeom>
            <a:solidFill>
              <a:srgbClr val="D9D9D9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0F4D1599-5B83-4633-B043-F660FBA3F770}"/>
                </a:ext>
              </a:extLst>
            </p:cNvPr>
            <p:cNvSpPr/>
            <p:nvPr/>
          </p:nvSpPr>
          <p:spPr>
            <a:xfrm>
              <a:off x="1087370" y="2960364"/>
              <a:ext cx="268259" cy="169023"/>
            </a:xfrm>
            <a:custGeom>
              <a:avLst/>
              <a:gdLst>
                <a:gd name="connsiteX0" fmla="*/ 268260 w 268259"/>
                <a:gd name="connsiteY0" fmla="*/ 73110 h 146283"/>
                <a:gd name="connsiteX1" fmla="*/ 240381 w 268259"/>
                <a:gd name="connsiteY1" fmla="*/ 0 h 146283"/>
                <a:gd name="connsiteX2" fmla="*/ 121785 w 268259"/>
                <a:gd name="connsiteY2" fmla="*/ 50654 h 146283"/>
                <a:gd name="connsiteX3" fmla="*/ 17480 w 268259"/>
                <a:gd name="connsiteY3" fmla="*/ 8995 h 146283"/>
                <a:gd name="connsiteX4" fmla="*/ 0 w 268259"/>
                <a:gd name="connsiteY4" fmla="*/ 93141 h 146283"/>
                <a:gd name="connsiteX5" fmla="*/ 128101 w 268259"/>
                <a:gd name="connsiteY5" fmla="*/ 146283 h 14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259" h="146283">
                  <a:moveTo>
                    <a:pt x="268260" y="73110"/>
                  </a:moveTo>
                  <a:lnTo>
                    <a:pt x="240381" y="0"/>
                  </a:lnTo>
                  <a:lnTo>
                    <a:pt x="121785" y="50654"/>
                  </a:lnTo>
                  <a:lnTo>
                    <a:pt x="17480" y="8995"/>
                  </a:lnTo>
                  <a:lnTo>
                    <a:pt x="0" y="93141"/>
                  </a:lnTo>
                  <a:lnTo>
                    <a:pt x="128101" y="146283"/>
                  </a:lnTo>
                  <a:close/>
                </a:path>
              </a:pathLst>
            </a:custGeom>
            <a:solidFill>
              <a:srgbClr val="F7F7F7"/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26" name="Graphic 4">
              <a:extLst>
                <a:ext uri="{FF2B5EF4-FFF2-40B4-BE49-F238E27FC236}">
                  <a16:creationId xmlns:a16="http://schemas.microsoft.com/office/drawing/2014/main" id="{7A88D0FD-AC2A-449F-9EF3-A1703CBA460B}"/>
                </a:ext>
              </a:extLst>
            </p:cNvPr>
            <p:cNvGrpSpPr/>
            <p:nvPr/>
          </p:nvGrpSpPr>
          <p:grpSpPr>
            <a:xfrm>
              <a:off x="906893" y="2459762"/>
              <a:ext cx="577985" cy="168993"/>
              <a:chOff x="13129410" y="4275596"/>
              <a:chExt cx="577985" cy="168993"/>
            </a:xfrm>
            <a:solidFill>
              <a:srgbClr val="D9D9D9"/>
            </a:solidFill>
          </p:grpSpPr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31FB011E-B78C-464D-B7AA-FBD0BCACA652}"/>
                  </a:ext>
                </a:extLst>
              </p:cNvPr>
              <p:cNvSpPr/>
              <p:nvPr/>
            </p:nvSpPr>
            <p:spPr>
              <a:xfrm>
                <a:off x="13129410" y="4276872"/>
                <a:ext cx="78085" cy="167717"/>
              </a:xfrm>
              <a:custGeom>
                <a:avLst/>
                <a:gdLst>
                  <a:gd name="connsiteX0" fmla="*/ 78085 w 78085"/>
                  <a:gd name="connsiteY0" fmla="*/ 83827 h 167717"/>
                  <a:gd name="connsiteX1" fmla="*/ 50590 w 78085"/>
                  <a:gd name="connsiteY1" fmla="*/ 167718 h 167717"/>
                  <a:gd name="connsiteX2" fmla="*/ 0 w 78085"/>
                  <a:gd name="connsiteY2" fmla="*/ 83827 h 167717"/>
                  <a:gd name="connsiteX3" fmla="*/ 41786 w 78085"/>
                  <a:gd name="connsiteY3" fmla="*/ 0 h 167717"/>
                  <a:gd name="connsiteX4" fmla="*/ 78085 w 78085"/>
                  <a:gd name="connsiteY4" fmla="*/ 83827 h 16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085" h="167717">
                    <a:moveTo>
                      <a:pt x="78085" y="83827"/>
                    </a:moveTo>
                    <a:cubicBezTo>
                      <a:pt x="78085" y="130142"/>
                      <a:pt x="72153" y="167718"/>
                      <a:pt x="50590" y="167718"/>
                    </a:cubicBezTo>
                    <a:cubicBezTo>
                      <a:pt x="29027" y="167718"/>
                      <a:pt x="0" y="130206"/>
                      <a:pt x="0" y="83827"/>
                    </a:cubicBezTo>
                    <a:cubicBezTo>
                      <a:pt x="0" y="37512"/>
                      <a:pt x="20223" y="0"/>
                      <a:pt x="41786" y="0"/>
                    </a:cubicBezTo>
                    <a:cubicBezTo>
                      <a:pt x="63349" y="-64"/>
                      <a:pt x="78085" y="37512"/>
                      <a:pt x="78085" y="83827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F4C21552-71CF-454E-BE07-FE7D2A55FFE1}"/>
                  </a:ext>
                </a:extLst>
              </p:cNvPr>
              <p:cNvSpPr/>
              <p:nvPr/>
            </p:nvSpPr>
            <p:spPr>
              <a:xfrm>
                <a:off x="13144848" y="4305252"/>
                <a:ext cx="53332" cy="84155"/>
              </a:xfrm>
              <a:custGeom>
                <a:avLst/>
                <a:gdLst>
                  <a:gd name="connsiteX0" fmla="*/ 31515 w 53332"/>
                  <a:gd name="connsiteY0" fmla="*/ 84155 h 84155"/>
                  <a:gd name="connsiteX1" fmla="*/ 21435 w 53332"/>
                  <a:gd name="connsiteY1" fmla="*/ 68717 h 84155"/>
                  <a:gd name="connsiteX2" fmla="*/ 20351 w 53332"/>
                  <a:gd name="connsiteY2" fmla="*/ 64060 h 84155"/>
                  <a:gd name="connsiteX3" fmla="*/ 19713 w 53332"/>
                  <a:gd name="connsiteY3" fmla="*/ 59275 h 84155"/>
                  <a:gd name="connsiteX4" fmla="*/ 19649 w 53332"/>
                  <a:gd name="connsiteY4" fmla="*/ 54490 h 84155"/>
                  <a:gd name="connsiteX5" fmla="*/ 19713 w 53332"/>
                  <a:gd name="connsiteY5" fmla="*/ 51875 h 84155"/>
                  <a:gd name="connsiteX6" fmla="*/ 20032 w 53332"/>
                  <a:gd name="connsiteY6" fmla="*/ 49578 h 84155"/>
                  <a:gd name="connsiteX7" fmla="*/ 21690 w 53332"/>
                  <a:gd name="connsiteY7" fmla="*/ 40391 h 84155"/>
                  <a:gd name="connsiteX8" fmla="*/ 25837 w 53332"/>
                  <a:gd name="connsiteY8" fmla="*/ 30886 h 84155"/>
                  <a:gd name="connsiteX9" fmla="*/ 29027 w 53332"/>
                  <a:gd name="connsiteY9" fmla="*/ 26612 h 84155"/>
                  <a:gd name="connsiteX10" fmla="*/ 33237 w 53332"/>
                  <a:gd name="connsiteY10" fmla="*/ 22912 h 84155"/>
                  <a:gd name="connsiteX11" fmla="*/ 38405 w 53332"/>
                  <a:gd name="connsiteY11" fmla="*/ 20296 h 84155"/>
                  <a:gd name="connsiteX12" fmla="*/ 44721 w 53332"/>
                  <a:gd name="connsiteY12" fmla="*/ 19084 h 84155"/>
                  <a:gd name="connsiteX13" fmla="*/ 39426 w 53332"/>
                  <a:gd name="connsiteY13" fmla="*/ 26740 h 84155"/>
                  <a:gd name="connsiteX14" fmla="*/ 31068 w 53332"/>
                  <a:gd name="connsiteY14" fmla="*/ 12322 h 84155"/>
                  <a:gd name="connsiteX15" fmla="*/ 25327 w 53332"/>
                  <a:gd name="connsiteY15" fmla="*/ 7218 h 84155"/>
                  <a:gd name="connsiteX16" fmla="*/ 18883 w 53332"/>
                  <a:gd name="connsiteY16" fmla="*/ 6133 h 84155"/>
                  <a:gd name="connsiteX17" fmla="*/ 15566 w 53332"/>
                  <a:gd name="connsiteY17" fmla="*/ 7856 h 84155"/>
                  <a:gd name="connsiteX18" fmla="*/ 12440 w 53332"/>
                  <a:gd name="connsiteY18" fmla="*/ 10535 h 84155"/>
                  <a:gd name="connsiteX19" fmla="*/ 7464 w 53332"/>
                  <a:gd name="connsiteY19" fmla="*/ 17744 h 84155"/>
                  <a:gd name="connsiteX20" fmla="*/ 3445 w 53332"/>
                  <a:gd name="connsiteY20" fmla="*/ 25782 h 84155"/>
                  <a:gd name="connsiteX21" fmla="*/ 0 w 53332"/>
                  <a:gd name="connsiteY21" fmla="*/ 34203 h 84155"/>
                  <a:gd name="connsiteX22" fmla="*/ 2169 w 53332"/>
                  <a:gd name="connsiteY22" fmla="*/ 25336 h 84155"/>
                  <a:gd name="connsiteX23" fmla="*/ 5040 w 53332"/>
                  <a:gd name="connsiteY23" fmla="*/ 16532 h 84155"/>
                  <a:gd name="connsiteX24" fmla="*/ 9250 w 53332"/>
                  <a:gd name="connsiteY24" fmla="*/ 8047 h 84155"/>
                  <a:gd name="connsiteX25" fmla="*/ 12504 w 53332"/>
                  <a:gd name="connsiteY25" fmla="*/ 4220 h 84155"/>
                  <a:gd name="connsiteX26" fmla="*/ 16906 w 53332"/>
                  <a:gd name="connsiteY26" fmla="*/ 1158 h 84155"/>
                  <a:gd name="connsiteX27" fmla="*/ 28006 w 53332"/>
                  <a:gd name="connsiteY27" fmla="*/ 1094 h 84155"/>
                  <a:gd name="connsiteX28" fmla="*/ 36746 w 53332"/>
                  <a:gd name="connsiteY28" fmla="*/ 6708 h 84155"/>
                  <a:gd name="connsiteX29" fmla="*/ 48995 w 53332"/>
                  <a:gd name="connsiteY29" fmla="*/ 22082 h 84155"/>
                  <a:gd name="connsiteX30" fmla="*/ 48995 w 53332"/>
                  <a:gd name="connsiteY30" fmla="*/ 22082 h 84155"/>
                  <a:gd name="connsiteX31" fmla="*/ 53333 w 53332"/>
                  <a:gd name="connsiteY31" fmla="*/ 32226 h 84155"/>
                  <a:gd name="connsiteX32" fmla="*/ 43764 w 53332"/>
                  <a:gd name="connsiteY32" fmla="*/ 29738 h 84155"/>
                  <a:gd name="connsiteX33" fmla="*/ 41084 w 53332"/>
                  <a:gd name="connsiteY33" fmla="*/ 29929 h 84155"/>
                  <a:gd name="connsiteX34" fmla="*/ 37894 w 53332"/>
                  <a:gd name="connsiteY34" fmla="*/ 30950 h 84155"/>
                  <a:gd name="connsiteX35" fmla="*/ 34896 w 53332"/>
                  <a:gd name="connsiteY35" fmla="*/ 32864 h 84155"/>
                  <a:gd name="connsiteX36" fmla="*/ 32217 w 53332"/>
                  <a:gd name="connsiteY36" fmla="*/ 35543 h 84155"/>
                  <a:gd name="connsiteX37" fmla="*/ 28006 w 53332"/>
                  <a:gd name="connsiteY37" fmla="*/ 42242 h 84155"/>
                  <a:gd name="connsiteX38" fmla="*/ 25135 w 53332"/>
                  <a:gd name="connsiteY38" fmla="*/ 50790 h 84155"/>
                  <a:gd name="connsiteX39" fmla="*/ 24497 w 53332"/>
                  <a:gd name="connsiteY39" fmla="*/ 53023 h 84155"/>
                  <a:gd name="connsiteX40" fmla="*/ 24242 w 53332"/>
                  <a:gd name="connsiteY40" fmla="*/ 54937 h 84155"/>
                  <a:gd name="connsiteX41" fmla="*/ 23604 w 53332"/>
                  <a:gd name="connsiteY41" fmla="*/ 59275 h 84155"/>
                  <a:gd name="connsiteX42" fmla="*/ 23540 w 53332"/>
                  <a:gd name="connsiteY42" fmla="*/ 63677 h 84155"/>
                  <a:gd name="connsiteX43" fmla="*/ 23859 w 53332"/>
                  <a:gd name="connsiteY43" fmla="*/ 68079 h 84155"/>
                  <a:gd name="connsiteX44" fmla="*/ 31515 w 53332"/>
                  <a:gd name="connsiteY44" fmla="*/ 84155 h 84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3332" h="84155">
                    <a:moveTo>
                      <a:pt x="31515" y="84155"/>
                    </a:moveTo>
                    <a:cubicBezTo>
                      <a:pt x="26666" y="80391"/>
                      <a:pt x="23158" y="74777"/>
                      <a:pt x="21435" y="68717"/>
                    </a:cubicBezTo>
                    <a:cubicBezTo>
                      <a:pt x="20797" y="67249"/>
                      <a:pt x="20606" y="65655"/>
                      <a:pt x="20351" y="64060"/>
                    </a:cubicBezTo>
                    <a:cubicBezTo>
                      <a:pt x="20159" y="62465"/>
                      <a:pt x="19649" y="60870"/>
                      <a:pt x="19713" y="59275"/>
                    </a:cubicBezTo>
                    <a:lnTo>
                      <a:pt x="19649" y="54490"/>
                    </a:lnTo>
                    <a:cubicBezTo>
                      <a:pt x="19649" y="53597"/>
                      <a:pt x="19585" y="53087"/>
                      <a:pt x="19713" y="51875"/>
                    </a:cubicBezTo>
                    <a:lnTo>
                      <a:pt x="20032" y="49578"/>
                    </a:lnTo>
                    <a:cubicBezTo>
                      <a:pt x="20606" y="46516"/>
                      <a:pt x="20606" y="43581"/>
                      <a:pt x="21690" y="40391"/>
                    </a:cubicBezTo>
                    <a:cubicBezTo>
                      <a:pt x="22903" y="37202"/>
                      <a:pt x="23668" y="33693"/>
                      <a:pt x="25837" y="30886"/>
                    </a:cubicBezTo>
                    <a:cubicBezTo>
                      <a:pt x="26858" y="29419"/>
                      <a:pt x="27560" y="27760"/>
                      <a:pt x="29027" y="26612"/>
                    </a:cubicBezTo>
                    <a:cubicBezTo>
                      <a:pt x="30430" y="25400"/>
                      <a:pt x="31515" y="23869"/>
                      <a:pt x="33237" y="22912"/>
                    </a:cubicBezTo>
                    <a:cubicBezTo>
                      <a:pt x="34896" y="21955"/>
                      <a:pt x="36491" y="20806"/>
                      <a:pt x="38405" y="20296"/>
                    </a:cubicBezTo>
                    <a:cubicBezTo>
                      <a:pt x="40382" y="19594"/>
                      <a:pt x="41977" y="19148"/>
                      <a:pt x="44721" y="19084"/>
                    </a:cubicBezTo>
                    <a:lnTo>
                      <a:pt x="39426" y="26740"/>
                    </a:lnTo>
                    <a:cubicBezTo>
                      <a:pt x="37384" y="21763"/>
                      <a:pt x="34513" y="16468"/>
                      <a:pt x="31068" y="12322"/>
                    </a:cubicBezTo>
                    <a:cubicBezTo>
                      <a:pt x="29346" y="10216"/>
                      <a:pt x="27432" y="8303"/>
                      <a:pt x="25327" y="7218"/>
                    </a:cubicBezTo>
                    <a:cubicBezTo>
                      <a:pt x="23222" y="5878"/>
                      <a:pt x="21116" y="5687"/>
                      <a:pt x="18883" y="6133"/>
                    </a:cubicBezTo>
                    <a:cubicBezTo>
                      <a:pt x="17863" y="6772"/>
                      <a:pt x="16587" y="6963"/>
                      <a:pt x="15566" y="7856"/>
                    </a:cubicBezTo>
                    <a:lnTo>
                      <a:pt x="12440" y="10535"/>
                    </a:lnTo>
                    <a:cubicBezTo>
                      <a:pt x="10781" y="12896"/>
                      <a:pt x="8740" y="15001"/>
                      <a:pt x="7464" y="17744"/>
                    </a:cubicBezTo>
                    <a:cubicBezTo>
                      <a:pt x="6124" y="20423"/>
                      <a:pt x="4466" y="22912"/>
                      <a:pt x="3445" y="25782"/>
                    </a:cubicBezTo>
                    <a:lnTo>
                      <a:pt x="0" y="34203"/>
                    </a:lnTo>
                    <a:lnTo>
                      <a:pt x="2169" y="25336"/>
                    </a:lnTo>
                    <a:cubicBezTo>
                      <a:pt x="2743" y="22338"/>
                      <a:pt x="4147" y="19531"/>
                      <a:pt x="5040" y="16532"/>
                    </a:cubicBezTo>
                    <a:cubicBezTo>
                      <a:pt x="5997" y="13597"/>
                      <a:pt x="7783" y="10918"/>
                      <a:pt x="9250" y="8047"/>
                    </a:cubicBezTo>
                    <a:lnTo>
                      <a:pt x="12504" y="4220"/>
                    </a:lnTo>
                    <a:cubicBezTo>
                      <a:pt x="13652" y="2944"/>
                      <a:pt x="15375" y="2178"/>
                      <a:pt x="16906" y="1158"/>
                    </a:cubicBezTo>
                    <a:cubicBezTo>
                      <a:pt x="20351" y="-310"/>
                      <a:pt x="24689" y="-437"/>
                      <a:pt x="28006" y="1094"/>
                    </a:cubicBezTo>
                    <a:cubicBezTo>
                      <a:pt x="31515" y="2370"/>
                      <a:pt x="34258" y="4538"/>
                      <a:pt x="36746" y="6708"/>
                    </a:cubicBezTo>
                    <a:cubicBezTo>
                      <a:pt x="41722" y="11301"/>
                      <a:pt x="45550" y="16277"/>
                      <a:pt x="48995" y="22082"/>
                    </a:cubicBezTo>
                    <a:lnTo>
                      <a:pt x="48995" y="22082"/>
                    </a:lnTo>
                    <a:lnTo>
                      <a:pt x="53333" y="32226"/>
                    </a:lnTo>
                    <a:lnTo>
                      <a:pt x="43764" y="29738"/>
                    </a:lnTo>
                    <a:cubicBezTo>
                      <a:pt x="43508" y="29674"/>
                      <a:pt x="42041" y="29674"/>
                      <a:pt x="41084" y="29929"/>
                    </a:cubicBezTo>
                    <a:cubicBezTo>
                      <a:pt x="40000" y="29993"/>
                      <a:pt x="38979" y="30631"/>
                      <a:pt x="37894" y="30950"/>
                    </a:cubicBezTo>
                    <a:cubicBezTo>
                      <a:pt x="36746" y="31269"/>
                      <a:pt x="35981" y="32290"/>
                      <a:pt x="34896" y="32864"/>
                    </a:cubicBezTo>
                    <a:cubicBezTo>
                      <a:pt x="33812" y="33438"/>
                      <a:pt x="33110" y="34650"/>
                      <a:pt x="32217" y="35543"/>
                    </a:cubicBezTo>
                    <a:cubicBezTo>
                      <a:pt x="30239" y="37393"/>
                      <a:pt x="29410" y="39881"/>
                      <a:pt x="28006" y="42242"/>
                    </a:cubicBezTo>
                    <a:cubicBezTo>
                      <a:pt x="26666" y="44602"/>
                      <a:pt x="26092" y="47983"/>
                      <a:pt x="25135" y="50790"/>
                    </a:cubicBezTo>
                    <a:lnTo>
                      <a:pt x="24497" y="53023"/>
                    </a:lnTo>
                    <a:lnTo>
                      <a:pt x="24242" y="54937"/>
                    </a:lnTo>
                    <a:lnTo>
                      <a:pt x="23604" y="59275"/>
                    </a:lnTo>
                    <a:cubicBezTo>
                      <a:pt x="23349" y="60742"/>
                      <a:pt x="23604" y="62210"/>
                      <a:pt x="23540" y="63677"/>
                    </a:cubicBezTo>
                    <a:cubicBezTo>
                      <a:pt x="23604" y="65144"/>
                      <a:pt x="23540" y="66612"/>
                      <a:pt x="23859" y="68079"/>
                    </a:cubicBezTo>
                    <a:cubicBezTo>
                      <a:pt x="24816" y="73948"/>
                      <a:pt x="27304" y="79690"/>
                      <a:pt x="31515" y="84155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07A4FB90-D8CF-47D0-8543-4453F5CAA83A}"/>
                  </a:ext>
                </a:extLst>
              </p:cNvPr>
              <p:cNvSpPr/>
              <p:nvPr/>
            </p:nvSpPr>
            <p:spPr>
              <a:xfrm>
                <a:off x="13637029" y="4275596"/>
                <a:ext cx="70366" cy="167653"/>
              </a:xfrm>
              <a:custGeom>
                <a:avLst/>
                <a:gdLst>
                  <a:gd name="connsiteX0" fmla="*/ 0 w 70366"/>
                  <a:gd name="connsiteY0" fmla="*/ 83827 h 167653"/>
                  <a:gd name="connsiteX1" fmla="*/ 24816 w 70366"/>
                  <a:gd name="connsiteY1" fmla="*/ 167654 h 167653"/>
                  <a:gd name="connsiteX2" fmla="*/ 70366 w 70366"/>
                  <a:gd name="connsiteY2" fmla="*/ 83827 h 167653"/>
                  <a:gd name="connsiteX3" fmla="*/ 32727 w 70366"/>
                  <a:gd name="connsiteY3" fmla="*/ 0 h 167653"/>
                  <a:gd name="connsiteX4" fmla="*/ 0 w 70366"/>
                  <a:gd name="connsiteY4" fmla="*/ 83827 h 16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366" h="167653">
                    <a:moveTo>
                      <a:pt x="0" y="83827"/>
                    </a:moveTo>
                    <a:cubicBezTo>
                      <a:pt x="0" y="130143"/>
                      <a:pt x="5359" y="167654"/>
                      <a:pt x="24816" y="167654"/>
                    </a:cubicBezTo>
                    <a:cubicBezTo>
                      <a:pt x="44274" y="167654"/>
                      <a:pt x="70366" y="130079"/>
                      <a:pt x="70366" y="83827"/>
                    </a:cubicBezTo>
                    <a:cubicBezTo>
                      <a:pt x="70366" y="37576"/>
                      <a:pt x="52121" y="0"/>
                      <a:pt x="32727" y="0"/>
                    </a:cubicBezTo>
                    <a:cubicBezTo>
                      <a:pt x="13269" y="0"/>
                      <a:pt x="0" y="37512"/>
                      <a:pt x="0" y="83827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B593F1F4-5045-4AAE-9F6C-9CB989502996}"/>
                  </a:ext>
                </a:extLst>
              </p:cNvPr>
              <p:cNvSpPr/>
              <p:nvPr/>
            </p:nvSpPr>
            <p:spPr>
              <a:xfrm>
                <a:off x="13646407" y="4302645"/>
                <a:ext cx="46953" cy="85485"/>
              </a:xfrm>
              <a:custGeom>
                <a:avLst/>
                <a:gdLst>
                  <a:gd name="connsiteX0" fmla="*/ 18628 w 46953"/>
                  <a:gd name="connsiteY0" fmla="*/ 85486 h 85485"/>
                  <a:gd name="connsiteX1" fmla="*/ 24051 w 46953"/>
                  <a:gd name="connsiteY1" fmla="*/ 69282 h 85485"/>
                  <a:gd name="connsiteX2" fmla="*/ 24115 w 46953"/>
                  <a:gd name="connsiteY2" fmla="*/ 60924 h 85485"/>
                  <a:gd name="connsiteX3" fmla="*/ 23540 w 46953"/>
                  <a:gd name="connsiteY3" fmla="*/ 56778 h 85485"/>
                  <a:gd name="connsiteX4" fmla="*/ 23285 w 46953"/>
                  <a:gd name="connsiteY4" fmla="*/ 54737 h 85485"/>
                  <a:gd name="connsiteX5" fmla="*/ 22775 w 46953"/>
                  <a:gd name="connsiteY5" fmla="*/ 52886 h 85485"/>
                  <a:gd name="connsiteX6" fmla="*/ 21627 w 46953"/>
                  <a:gd name="connsiteY6" fmla="*/ 48548 h 85485"/>
                  <a:gd name="connsiteX7" fmla="*/ 20478 w 46953"/>
                  <a:gd name="connsiteY7" fmla="*/ 44402 h 85485"/>
                  <a:gd name="connsiteX8" fmla="*/ 17097 w 46953"/>
                  <a:gd name="connsiteY8" fmla="*/ 37767 h 85485"/>
                  <a:gd name="connsiteX9" fmla="*/ 14992 w 46953"/>
                  <a:gd name="connsiteY9" fmla="*/ 34832 h 85485"/>
                  <a:gd name="connsiteX10" fmla="*/ 12504 w 46953"/>
                  <a:gd name="connsiteY10" fmla="*/ 32599 h 85485"/>
                  <a:gd name="connsiteX11" fmla="*/ 9761 w 46953"/>
                  <a:gd name="connsiteY11" fmla="*/ 31260 h 85485"/>
                  <a:gd name="connsiteX12" fmla="*/ 7528 w 46953"/>
                  <a:gd name="connsiteY12" fmla="*/ 30749 h 85485"/>
                  <a:gd name="connsiteX13" fmla="*/ 0 w 46953"/>
                  <a:gd name="connsiteY13" fmla="*/ 28708 h 85485"/>
                  <a:gd name="connsiteX14" fmla="*/ 2424 w 46953"/>
                  <a:gd name="connsiteY14" fmla="*/ 23732 h 85485"/>
                  <a:gd name="connsiteX15" fmla="*/ 12631 w 46953"/>
                  <a:gd name="connsiteY15" fmla="*/ 7847 h 85485"/>
                  <a:gd name="connsiteX16" fmla="*/ 20989 w 46953"/>
                  <a:gd name="connsiteY16" fmla="*/ 1467 h 85485"/>
                  <a:gd name="connsiteX17" fmla="*/ 26922 w 46953"/>
                  <a:gd name="connsiteY17" fmla="*/ 0 h 85485"/>
                  <a:gd name="connsiteX18" fmla="*/ 32982 w 46953"/>
                  <a:gd name="connsiteY18" fmla="*/ 1723 h 85485"/>
                  <a:gd name="connsiteX19" fmla="*/ 37320 w 46953"/>
                  <a:gd name="connsiteY19" fmla="*/ 5295 h 85485"/>
                  <a:gd name="connsiteX20" fmla="*/ 40255 w 46953"/>
                  <a:gd name="connsiteY20" fmla="*/ 9378 h 85485"/>
                  <a:gd name="connsiteX21" fmla="*/ 43764 w 46953"/>
                  <a:gd name="connsiteY21" fmla="*/ 17990 h 85485"/>
                  <a:gd name="connsiteX22" fmla="*/ 46953 w 46953"/>
                  <a:gd name="connsiteY22" fmla="*/ 35534 h 85485"/>
                  <a:gd name="connsiteX23" fmla="*/ 39234 w 46953"/>
                  <a:gd name="connsiteY23" fmla="*/ 19968 h 85485"/>
                  <a:gd name="connsiteX24" fmla="*/ 34768 w 46953"/>
                  <a:gd name="connsiteY24" fmla="*/ 13078 h 85485"/>
                  <a:gd name="connsiteX25" fmla="*/ 32153 w 46953"/>
                  <a:gd name="connsiteY25" fmla="*/ 10463 h 85485"/>
                  <a:gd name="connsiteX26" fmla="*/ 29537 w 46953"/>
                  <a:gd name="connsiteY26" fmla="*/ 8804 h 85485"/>
                  <a:gd name="connsiteX27" fmla="*/ 27241 w 46953"/>
                  <a:gd name="connsiteY27" fmla="*/ 8421 h 85485"/>
                  <a:gd name="connsiteX28" fmla="*/ 24880 w 46953"/>
                  <a:gd name="connsiteY28" fmla="*/ 9378 h 85485"/>
                  <a:gd name="connsiteX29" fmla="*/ 19840 w 46953"/>
                  <a:gd name="connsiteY29" fmla="*/ 14035 h 85485"/>
                  <a:gd name="connsiteX30" fmla="*/ 11675 w 46953"/>
                  <a:gd name="connsiteY30" fmla="*/ 27687 h 85485"/>
                  <a:gd name="connsiteX31" fmla="*/ 6571 w 46953"/>
                  <a:gd name="connsiteY31" fmla="*/ 20606 h 85485"/>
                  <a:gd name="connsiteX32" fmla="*/ 13014 w 46953"/>
                  <a:gd name="connsiteY32" fmla="*/ 21691 h 85485"/>
                  <a:gd name="connsiteX33" fmla="*/ 18182 w 46953"/>
                  <a:gd name="connsiteY33" fmla="*/ 24434 h 85485"/>
                  <a:gd name="connsiteX34" fmla="*/ 25199 w 46953"/>
                  <a:gd name="connsiteY34" fmla="*/ 32663 h 85485"/>
                  <a:gd name="connsiteX35" fmla="*/ 29027 w 46953"/>
                  <a:gd name="connsiteY35" fmla="*/ 42296 h 85485"/>
                  <a:gd name="connsiteX36" fmla="*/ 29920 w 46953"/>
                  <a:gd name="connsiteY36" fmla="*/ 46826 h 85485"/>
                  <a:gd name="connsiteX37" fmla="*/ 30494 w 46953"/>
                  <a:gd name="connsiteY37" fmla="*/ 51228 h 85485"/>
                  <a:gd name="connsiteX38" fmla="*/ 30749 w 46953"/>
                  <a:gd name="connsiteY38" fmla="*/ 53779 h 85485"/>
                  <a:gd name="connsiteX39" fmla="*/ 30749 w 46953"/>
                  <a:gd name="connsiteY39" fmla="*/ 56204 h 85485"/>
                  <a:gd name="connsiteX40" fmla="*/ 30686 w 46953"/>
                  <a:gd name="connsiteY40" fmla="*/ 60988 h 85485"/>
                  <a:gd name="connsiteX41" fmla="*/ 28899 w 46953"/>
                  <a:gd name="connsiteY41" fmla="*/ 70303 h 85485"/>
                  <a:gd name="connsiteX42" fmla="*/ 18628 w 46953"/>
                  <a:gd name="connsiteY42" fmla="*/ 85486 h 85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6953" h="85485">
                    <a:moveTo>
                      <a:pt x="18628" y="85486"/>
                    </a:moveTo>
                    <a:cubicBezTo>
                      <a:pt x="21946" y="80446"/>
                      <a:pt x="23859" y="74960"/>
                      <a:pt x="24051" y="69282"/>
                    </a:cubicBezTo>
                    <a:cubicBezTo>
                      <a:pt x="24434" y="66539"/>
                      <a:pt x="24178" y="63668"/>
                      <a:pt x="24115" y="60924"/>
                    </a:cubicBezTo>
                    <a:lnTo>
                      <a:pt x="23540" y="56778"/>
                    </a:lnTo>
                    <a:lnTo>
                      <a:pt x="23285" y="54737"/>
                    </a:lnTo>
                    <a:lnTo>
                      <a:pt x="22775" y="52886"/>
                    </a:lnTo>
                    <a:lnTo>
                      <a:pt x="21627" y="48548"/>
                    </a:lnTo>
                    <a:cubicBezTo>
                      <a:pt x="21244" y="47209"/>
                      <a:pt x="21052" y="45486"/>
                      <a:pt x="20478" y="44402"/>
                    </a:cubicBezTo>
                    <a:cubicBezTo>
                      <a:pt x="19202" y="42169"/>
                      <a:pt x="18756" y="39617"/>
                      <a:pt x="17097" y="37767"/>
                    </a:cubicBezTo>
                    <a:cubicBezTo>
                      <a:pt x="16332" y="36874"/>
                      <a:pt x="15821" y="35662"/>
                      <a:pt x="14992" y="34832"/>
                    </a:cubicBezTo>
                    <a:lnTo>
                      <a:pt x="12504" y="32599"/>
                    </a:lnTo>
                    <a:cubicBezTo>
                      <a:pt x="11547" y="32217"/>
                      <a:pt x="10718" y="31387"/>
                      <a:pt x="9761" y="31260"/>
                    </a:cubicBezTo>
                    <a:cubicBezTo>
                      <a:pt x="8931" y="30941"/>
                      <a:pt x="7592" y="30813"/>
                      <a:pt x="7528" y="30749"/>
                    </a:cubicBezTo>
                    <a:lnTo>
                      <a:pt x="0" y="28708"/>
                    </a:lnTo>
                    <a:lnTo>
                      <a:pt x="2424" y="23732"/>
                    </a:lnTo>
                    <a:cubicBezTo>
                      <a:pt x="5231" y="17926"/>
                      <a:pt x="8230" y="12759"/>
                      <a:pt x="12631" y="7847"/>
                    </a:cubicBezTo>
                    <a:cubicBezTo>
                      <a:pt x="14928" y="5486"/>
                      <a:pt x="17352" y="3062"/>
                      <a:pt x="20989" y="1467"/>
                    </a:cubicBezTo>
                    <a:cubicBezTo>
                      <a:pt x="22520" y="447"/>
                      <a:pt x="24944" y="255"/>
                      <a:pt x="26922" y="0"/>
                    </a:cubicBezTo>
                    <a:cubicBezTo>
                      <a:pt x="28963" y="319"/>
                      <a:pt x="31451" y="574"/>
                      <a:pt x="32982" y="1723"/>
                    </a:cubicBezTo>
                    <a:cubicBezTo>
                      <a:pt x="34513" y="2871"/>
                      <a:pt x="36427" y="3828"/>
                      <a:pt x="37320" y="5295"/>
                    </a:cubicBezTo>
                    <a:cubicBezTo>
                      <a:pt x="38341" y="6635"/>
                      <a:pt x="39553" y="7974"/>
                      <a:pt x="40255" y="9378"/>
                    </a:cubicBezTo>
                    <a:cubicBezTo>
                      <a:pt x="41467" y="12312"/>
                      <a:pt x="43126" y="15056"/>
                      <a:pt x="43764" y="17990"/>
                    </a:cubicBezTo>
                    <a:cubicBezTo>
                      <a:pt x="45422" y="23859"/>
                      <a:pt x="46379" y="29665"/>
                      <a:pt x="46953" y="35534"/>
                    </a:cubicBezTo>
                    <a:cubicBezTo>
                      <a:pt x="44210" y="30239"/>
                      <a:pt x="42296" y="24816"/>
                      <a:pt x="39234" y="19968"/>
                    </a:cubicBezTo>
                    <a:cubicBezTo>
                      <a:pt x="38022" y="17353"/>
                      <a:pt x="36236" y="15375"/>
                      <a:pt x="34768" y="13078"/>
                    </a:cubicBezTo>
                    <a:cubicBezTo>
                      <a:pt x="33939" y="12057"/>
                      <a:pt x="32982" y="11356"/>
                      <a:pt x="32153" y="10463"/>
                    </a:cubicBezTo>
                    <a:cubicBezTo>
                      <a:pt x="31387" y="9378"/>
                      <a:pt x="30303" y="9378"/>
                      <a:pt x="29537" y="8804"/>
                    </a:cubicBezTo>
                    <a:cubicBezTo>
                      <a:pt x="28708" y="8229"/>
                      <a:pt x="27942" y="8740"/>
                      <a:pt x="27241" y="8421"/>
                    </a:cubicBezTo>
                    <a:cubicBezTo>
                      <a:pt x="26475" y="8932"/>
                      <a:pt x="25773" y="8613"/>
                      <a:pt x="24880" y="9378"/>
                    </a:cubicBezTo>
                    <a:cubicBezTo>
                      <a:pt x="23158" y="10207"/>
                      <a:pt x="21435" y="12121"/>
                      <a:pt x="19840" y="14035"/>
                    </a:cubicBezTo>
                    <a:cubicBezTo>
                      <a:pt x="16651" y="17926"/>
                      <a:pt x="13780" y="22903"/>
                      <a:pt x="11675" y="27687"/>
                    </a:cubicBezTo>
                    <a:lnTo>
                      <a:pt x="6571" y="20606"/>
                    </a:lnTo>
                    <a:cubicBezTo>
                      <a:pt x="9442" y="20478"/>
                      <a:pt x="11037" y="20989"/>
                      <a:pt x="13014" y="21691"/>
                    </a:cubicBezTo>
                    <a:cubicBezTo>
                      <a:pt x="14992" y="22265"/>
                      <a:pt x="16523" y="23477"/>
                      <a:pt x="18182" y="24434"/>
                    </a:cubicBezTo>
                    <a:cubicBezTo>
                      <a:pt x="21116" y="26794"/>
                      <a:pt x="23604" y="29537"/>
                      <a:pt x="25199" y="32663"/>
                    </a:cubicBezTo>
                    <a:cubicBezTo>
                      <a:pt x="27241" y="35598"/>
                      <a:pt x="27751" y="39107"/>
                      <a:pt x="29027" y="42296"/>
                    </a:cubicBezTo>
                    <a:cubicBezTo>
                      <a:pt x="29601" y="43955"/>
                      <a:pt x="29601" y="45295"/>
                      <a:pt x="29920" y="46826"/>
                    </a:cubicBezTo>
                    <a:lnTo>
                      <a:pt x="30494" y="51228"/>
                    </a:lnTo>
                    <a:cubicBezTo>
                      <a:pt x="30558" y="52121"/>
                      <a:pt x="30686" y="52376"/>
                      <a:pt x="30749" y="53779"/>
                    </a:cubicBezTo>
                    <a:lnTo>
                      <a:pt x="30749" y="56204"/>
                    </a:lnTo>
                    <a:lnTo>
                      <a:pt x="30686" y="60988"/>
                    </a:lnTo>
                    <a:cubicBezTo>
                      <a:pt x="30239" y="64114"/>
                      <a:pt x="29920" y="67304"/>
                      <a:pt x="28899" y="70303"/>
                    </a:cubicBezTo>
                    <a:cubicBezTo>
                      <a:pt x="26985" y="76236"/>
                      <a:pt x="23732" y="82041"/>
                      <a:pt x="18628" y="85486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5A209AC-43B7-4A07-92FA-D32EEC5A08F0}"/>
                </a:ext>
              </a:extLst>
            </p:cNvPr>
            <p:cNvSpPr/>
            <p:nvPr/>
          </p:nvSpPr>
          <p:spPr>
            <a:xfrm>
              <a:off x="982404" y="2021041"/>
              <a:ext cx="431041" cy="915470"/>
            </a:xfrm>
            <a:custGeom>
              <a:avLst/>
              <a:gdLst>
                <a:gd name="connsiteX0" fmla="*/ 19608 w 431041"/>
                <a:gd name="connsiteY0" fmla="*/ 143922 h 915470"/>
                <a:gd name="connsiteX1" fmla="*/ 27519 w 431041"/>
                <a:gd name="connsiteY1" fmla="*/ 800632 h 915470"/>
                <a:gd name="connsiteX2" fmla="*/ 424262 w 431041"/>
                <a:gd name="connsiteY2" fmla="*/ 802992 h 915470"/>
                <a:gd name="connsiteX3" fmla="*/ 419541 w 431041"/>
                <a:gd name="connsiteY3" fmla="*/ 131483 h 915470"/>
                <a:gd name="connsiteX4" fmla="*/ 229176 w 431041"/>
                <a:gd name="connsiteY4" fmla="*/ 0 h 915470"/>
                <a:gd name="connsiteX5" fmla="*/ 19608 w 431041"/>
                <a:gd name="connsiteY5" fmla="*/ 143922 h 915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041" h="915470">
                  <a:moveTo>
                    <a:pt x="19608" y="143922"/>
                  </a:moveTo>
                  <a:cubicBezTo>
                    <a:pt x="19608" y="143922"/>
                    <a:pt x="-29387" y="647268"/>
                    <a:pt x="27519" y="800632"/>
                  </a:cubicBezTo>
                  <a:cubicBezTo>
                    <a:pt x="181202" y="984490"/>
                    <a:pt x="333162" y="918972"/>
                    <a:pt x="424262" y="802992"/>
                  </a:cubicBezTo>
                  <a:cubicBezTo>
                    <a:pt x="431407" y="793869"/>
                    <a:pt x="436766" y="184879"/>
                    <a:pt x="419541" y="131483"/>
                  </a:cubicBezTo>
                  <a:cubicBezTo>
                    <a:pt x="419541" y="131483"/>
                    <a:pt x="382604" y="0"/>
                    <a:pt x="229176" y="0"/>
                  </a:cubicBezTo>
                  <a:cubicBezTo>
                    <a:pt x="74026" y="0"/>
                    <a:pt x="19608" y="143922"/>
                    <a:pt x="19608" y="143922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28" name="Graphic 4">
              <a:extLst>
                <a:ext uri="{FF2B5EF4-FFF2-40B4-BE49-F238E27FC236}">
                  <a16:creationId xmlns:a16="http://schemas.microsoft.com/office/drawing/2014/main" id="{02F412EE-1A3B-4F2A-84DE-2F0DAF9F8521}"/>
                </a:ext>
              </a:extLst>
            </p:cNvPr>
            <p:cNvGrpSpPr/>
            <p:nvPr/>
          </p:nvGrpSpPr>
          <p:grpSpPr>
            <a:xfrm>
              <a:off x="991358" y="2178552"/>
              <a:ext cx="417412" cy="283953"/>
              <a:chOff x="13213875" y="3994386"/>
              <a:chExt cx="417412" cy="283953"/>
            </a:xfrm>
            <a:solidFill>
              <a:srgbClr val="E8D7CC"/>
            </a:solidFill>
          </p:grpSpPr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F347C2B2-55B9-4B17-8159-02B7414B4E9D}"/>
                  </a:ext>
                </a:extLst>
              </p:cNvPr>
              <p:cNvSpPr/>
              <p:nvPr/>
            </p:nvSpPr>
            <p:spPr>
              <a:xfrm>
                <a:off x="13265549" y="4045277"/>
                <a:ext cx="320826" cy="26875"/>
              </a:xfrm>
              <a:custGeom>
                <a:avLst/>
                <a:gdLst>
                  <a:gd name="connsiteX0" fmla="*/ 0 w 320826"/>
                  <a:gd name="connsiteY0" fmla="*/ 26875 h 26875"/>
                  <a:gd name="connsiteX1" fmla="*/ 49569 w 320826"/>
                  <a:gd name="connsiteY1" fmla="*/ 16796 h 26875"/>
                  <a:gd name="connsiteX2" fmla="*/ 100797 w 320826"/>
                  <a:gd name="connsiteY2" fmla="*/ 8821 h 26875"/>
                  <a:gd name="connsiteX3" fmla="*/ 159935 w 320826"/>
                  <a:gd name="connsiteY3" fmla="*/ 2505 h 26875"/>
                  <a:gd name="connsiteX4" fmla="*/ 219456 w 320826"/>
                  <a:gd name="connsiteY4" fmla="*/ 81 h 26875"/>
                  <a:gd name="connsiteX5" fmla="*/ 246888 w 320826"/>
                  <a:gd name="connsiteY5" fmla="*/ 719 h 26875"/>
                  <a:gd name="connsiteX6" fmla="*/ 271385 w 320826"/>
                  <a:gd name="connsiteY6" fmla="*/ 2633 h 26875"/>
                  <a:gd name="connsiteX7" fmla="*/ 291928 w 320826"/>
                  <a:gd name="connsiteY7" fmla="*/ 5695 h 26875"/>
                  <a:gd name="connsiteX8" fmla="*/ 307557 w 320826"/>
                  <a:gd name="connsiteY8" fmla="*/ 9204 h 26875"/>
                  <a:gd name="connsiteX9" fmla="*/ 320827 w 320826"/>
                  <a:gd name="connsiteY9" fmla="*/ 13351 h 26875"/>
                  <a:gd name="connsiteX10" fmla="*/ 307238 w 320826"/>
                  <a:gd name="connsiteY10" fmla="*/ 10544 h 26875"/>
                  <a:gd name="connsiteX11" fmla="*/ 291545 w 320826"/>
                  <a:gd name="connsiteY11" fmla="*/ 8247 h 26875"/>
                  <a:gd name="connsiteX12" fmla="*/ 271066 w 320826"/>
                  <a:gd name="connsiteY12" fmla="*/ 6525 h 26875"/>
                  <a:gd name="connsiteX13" fmla="*/ 219520 w 320826"/>
                  <a:gd name="connsiteY13" fmla="*/ 6078 h 26875"/>
                  <a:gd name="connsiteX14" fmla="*/ 160445 w 320826"/>
                  <a:gd name="connsiteY14" fmla="*/ 9395 h 26875"/>
                  <a:gd name="connsiteX15" fmla="*/ 101498 w 320826"/>
                  <a:gd name="connsiteY15" fmla="*/ 14754 h 26875"/>
                  <a:gd name="connsiteX16" fmla="*/ 50143 w 320826"/>
                  <a:gd name="connsiteY16" fmla="*/ 20623 h 26875"/>
                  <a:gd name="connsiteX17" fmla="*/ 0 w 320826"/>
                  <a:gd name="connsiteY17" fmla="*/ 26875 h 2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20826" h="26875">
                    <a:moveTo>
                      <a:pt x="0" y="26875"/>
                    </a:moveTo>
                    <a:cubicBezTo>
                      <a:pt x="0" y="26875"/>
                      <a:pt x="19649" y="22091"/>
                      <a:pt x="49569" y="16796"/>
                    </a:cubicBezTo>
                    <a:cubicBezTo>
                      <a:pt x="64497" y="14244"/>
                      <a:pt x="81977" y="11245"/>
                      <a:pt x="100797" y="8821"/>
                    </a:cubicBezTo>
                    <a:cubicBezTo>
                      <a:pt x="119616" y="6525"/>
                      <a:pt x="139776" y="4228"/>
                      <a:pt x="159935" y="2505"/>
                    </a:cubicBezTo>
                    <a:cubicBezTo>
                      <a:pt x="180158" y="1166"/>
                      <a:pt x="200381" y="81"/>
                      <a:pt x="219456" y="81"/>
                    </a:cubicBezTo>
                    <a:cubicBezTo>
                      <a:pt x="228961" y="-174"/>
                      <a:pt x="238148" y="209"/>
                      <a:pt x="246888" y="719"/>
                    </a:cubicBezTo>
                    <a:cubicBezTo>
                      <a:pt x="255628" y="974"/>
                      <a:pt x="263858" y="1804"/>
                      <a:pt x="271385" y="2633"/>
                    </a:cubicBezTo>
                    <a:cubicBezTo>
                      <a:pt x="278977" y="3207"/>
                      <a:pt x="285867" y="4420"/>
                      <a:pt x="291928" y="5695"/>
                    </a:cubicBezTo>
                    <a:cubicBezTo>
                      <a:pt x="297988" y="6843"/>
                      <a:pt x="303283" y="7737"/>
                      <a:pt x="307557" y="9204"/>
                    </a:cubicBezTo>
                    <a:cubicBezTo>
                      <a:pt x="315978" y="11820"/>
                      <a:pt x="320827" y="13351"/>
                      <a:pt x="320827" y="13351"/>
                    </a:cubicBezTo>
                    <a:cubicBezTo>
                      <a:pt x="320827" y="13351"/>
                      <a:pt x="315915" y="12330"/>
                      <a:pt x="307238" y="10544"/>
                    </a:cubicBezTo>
                    <a:cubicBezTo>
                      <a:pt x="302964" y="9395"/>
                      <a:pt x="297605" y="8949"/>
                      <a:pt x="291545" y="8247"/>
                    </a:cubicBezTo>
                    <a:cubicBezTo>
                      <a:pt x="285484" y="7482"/>
                      <a:pt x="278594" y="6780"/>
                      <a:pt x="271066" y="6525"/>
                    </a:cubicBezTo>
                    <a:cubicBezTo>
                      <a:pt x="256011" y="5440"/>
                      <a:pt x="238403" y="5568"/>
                      <a:pt x="219520" y="6078"/>
                    </a:cubicBezTo>
                    <a:cubicBezTo>
                      <a:pt x="200636" y="6333"/>
                      <a:pt x="180541" y="7737"/>
                      <a:pt x="160445" y="9395"/>
                    </a:cubicBezTo>
                    <a:cubicBezTo>
                      <a:pt x="140350" y="10735"/>
                      <a:pt x="120254" y="12713"/>
                      <a:pt x="101498" y="14754"/>
                    </a:cubicBezTo>
                    <a:cubicBezTo>
                      <a:pt x="82679" y="16923"/>
                      <a:pt x="65135" y="18901"/>
                      <a:pt x="50143" y="20623"/>
                    </a:cubicBezTo>
                    <a:cubicBezTo>
                      <a:pt x="20096" y="24387"/>
                      <a:pt x="0" y="26875"/>
                      <a:pt x="0" y="26875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6644C723-909D-4229-8547-948B0AC87FCA}"/>
                  </a:ext>
                </a:extLst>
              </p:cNvPr>
              <p:cNvSpPr/>
              <p:nvPr/>
            </p:nvSpPr>
            <p:spPr>
              <a:xfrm>
                <a:off x="13265549" y="3994386"/>
                <a:ext cx="309981" cy="22647"/>
              </a:xfrm>
              <a:custGeom>
                <a:avLst/>
                <a:gdLst>
                  <a:gd name="connsiteX0" fmla="*/ 0 w 309981"/>
                  <a:gd name="connsiteY0" fmla="*/ 9952 h 22647"/>
                  <a:gd name="connsiteX1" fmla="*/ 48548 w 309981"/>
                  <a:gd name="connsiteY1" fmla="*/ 4657 h 22647"/>
                  <a:gd name="connsiteX2" fmla="*/ 98500 w 309981"/>
                  <a:gd name="connsiteY2" fmla="*/ 1340 h 22647"/>
                  <a:gd name="connsiteX3" fmla="*/ 155916 w 309981"/>
                  <a:gd name="connsiteY3" fmla="*/ 0 h 22647"/>
                  <a:gd name="connsiteX4" fmla="*/ 185134 w 309981"/>
                  <a:gd name="connsiteY4" fmla="*/ 702 h 22647"/>
                  <a:gd name="connsiteX5" fmla="*/ 213395 w 309981"/>
                  <a:gd name="connsiteY5" fmla="*/ 2169 h 22647"/>
                  <a:gd name="connsiteX6" fmla="*/ 239743 w 309981"/>
                  <a:gd name="connsiteY6" fmla="*/ 4721 h 22647"/>
                  <a:gd name="connsiteX7" fmla="*/ 263220 w 309981"/>
                  <a:gd name="connsiteY7" fmla="*/ 8293 h 22647"/>
                  <a:gd name="connsiteX8" fmla="*/ 282805 w 309981"/>
                  <a:gd name="connsiteY8" fmla="*/ 12695 h 22647"/>
                  <a:gd name="connsiteX9" fmla="*/ 297605 w 309981"/>
                  <a:gd name="connsiteY9" fmla="*/ 17289 h 22647"/>
                  <a:gd name="connsiteX10" fmla="*/ 309982 w 309981"/>
                  <a:gd name="connsiteY10" fmla="*/ 22647 h 22647"/>
                  <a:gd name="connsiteX11" fmla="*/ 297223 w 309981"/>
                  <a:gd name="connsiteY11" fmla="*/ 18629 h 22647"/>
                  <a:gd name="connsiteX12" fmla="*/ 282294 w 309981"/>
                  <a:gd name="connsiteY12" fmla="*/ 15247 h 22647"/>
                  <a:gd name="connsiteX13" fmla="*/ 262645 w 309981"/>
                  <a:gd name="connsiteY13" fmla="*/ 12185 h 22647"/>
                  <a:gd name="connsiteX14" fmla="*/ 239233 w 309981"/>
                  <a:gd name="connsiteY14" fmla="*/ 9761 h 22647"/>
                  <a:gd name="connsiteX15" fmla="*/ 213013 w 309981"/>
                  <a:gd name="connsiteY15" fmla="*/ 8166 h 22647"/>
                  <a:gd name="connsiteX16" fmla="*/ 184943 w 309981"/>
                  <a:gd name="connsiteY16" fmla="*/ 7145 h 22647"/>
                  <a:gd name="connsiteX17" fmla="*/ 155916 w 309981"/>
                  <a:gd name="connsiteY17" fmla="*/ 6890 h 22647"/>
                  <a:gd name="connsiteX18" fmla="*/ 98755 w 309981"/>
                  <a:gd name="connsiteY18" fmla="*/ 7337 h 22647"/>
                  <a:gd name="connsiteX19" fmla="*/ 48803 w 309981"/>
                  <a:gd name="connsiteY19" fmla="*/ 8485 h 22647"/>
                  <a:gd name="connsiteX20" fmla="*/ 0 w 309981"/>
                  <a:gd name="connsiteY20" fmla="*/ 9952 h 22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09981" h="22647">
                    <a:moveTo>
                      <a:pt x="0" y="9952"/>
                    </a:moveTo>
                    <a:cubicBezTo>
                      <a:pt x="0" y="9952"/>
                      <a:pt x="19330" y="7145"/>
                      <a:pt x="48548" y="4657"/>
                    </a:cubicBezTo>
                    <a:cubicBezTo>
                      <a:pt x="63157" y="3509"/>
                      <a:pt x="80191" y="2105"/>
                      <a:pt x="98500" y="1340"/>
                    </a:cubicBezTo>
                    <a:cubicBezTo>
                      <a:pt x="116809" y="574"/>
                      <a:pt x="136331" y="128"/>
                      <a:pt x="155916" y="0"/>
                    </a:cubicBezTo>
                    <a:cubicBezTo>
                      <a:pt x="165677" y="255"/>
                      <a:pt x="175501" y="255"/>
                      <a:pt x="185134" y="702"/>
                    </a:cubicBezTo>
                    <a:cubicBezTo>
                      <a:pt x="194767" y="1212"/>
                      <a:pt x="204209" y="1340"/>
                      <a:pt x="213395" y="2169"/>
                    </a:cubicBezTo>
                    <a:cubicBezTo>
                      <a:pt x="222582" y="2871"/>
                      <a:pt x="231450" y="3509"/>
                      <a:pt x="239743" y="4721"/>
                    </a:cubicBezTo>
                    <a:cubicBezTo>
                      <a:pt x="248100" y="5869"/>
                      <a:pt x="256011" y="6762"/>
                      <a:pt x="263220" y="8293"/>
                    </a:cubicBezTo>
                    <a:cubicBezTo>
                      <a:pt x="270429" y="9633"/>
                      <a:pt x="277063" y="10781"/>
                      <a:pt x="282805" y="12695"/>
                    </a:cubicBezTo>
                    <a:cubicBezTo>
                      <a:pt x="288546" y="14482"/>
                      <a:pt x="293650" y="15439"/>
                      <a:pt x="297605" y="17289"/>
                    </a:cubicBezTo>
                    <a:cubicBezTo>
                      <a:pt x="305452" y="20670"/>
                      <a:pt x="309982" y="22647"/>
                      <a:pt x="309982" y="22647"/>
                    </a:cubicBezTo>
                    <a:cubicBezTo>
                      <a:pt x="309982" y="22647"/>
                      <a:pt x="305324" y="21180"/>
                      <a:pt x="297223" y="18629"/>
                    </a:cubicBezTo>
                    <a:cubicBezTo>
                      <a:pt x="293267" y="17097"/>
                      <a:pt x="288036" y="16587"/>
                      <a:pt x="282294" y="15247"/>
                    </a:cubicBezTo>
                    <a:cubicBezTo>
                      <a:pt x="276553" y="13844"/>
                      <a:pt x="269854" y="13270"/>
                      <a:pt x="262645" y="12185"/>
                    </a:cubicBezTo>
                    <a:cubicBezTo>
                      <a:pt x="255500" y="10973"/>
                      <a:pt x="247590" y="10526"/>
                      <a:pt x="239233" y="9761"/>
                    </a:cubicBezTo>
                    <a:cubicBezTo>
                      <a:pt x="230939" y="8932"/>
                      <a:pt x="222135" y="8804"/>
                      <a:pt x="213013" y="8166"/>
                    </a:cubicBezTo>
                    <a:cubicBezTo>
                      <a:pt x="203954" y="7464"/>
                      <a:pt x="194512" y="7528"/>
                      <a:pt x="184943" y="7145"/>
                    </a:cubicBezTo>
                    <a:cubicBezTo>
                      <a:pt x="175373" y="7081"/>
                      <a:pt x="165613" y="6954"/>
                      <a:pt x="155916" y="6890"/>
                    </a:cubicBezTo>
                    <a:cubicBezTo>
                      <a:pt x="136458" y="6698"/>
                      <a:pt x="117001" y="6890"/>
                      <a:pt x="98755" y="7337"/>
                    </a:cubicBezTo>
                    <a:cubicBezTo>
                      <a:pt x="80510" y="7783"/>
                      <a:pt x="63413" y="8166"/>
                      <a:pt x="48803" y="8485"/>
                    </a:cubicBezTo>
                    <a:cubicBezTo>
                      <a:pt x="19521" y="9378"/>
                      <a:pt x="0" y="9952"/>
                      <a:pt x="0" y="9952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300298FA-1E33-40C7-94EB-5FC2B9C26212}"/>
                  </a:ext>
                </a:extLst>
              </p:cNvPr>
              <p:cNvSpPr/>
              <p:nvPr/>
            </p:nvSpPr>
            <p:spPr>
              <a:xfrm>
                <a:off x="13213875" y="4234958"/>
                <a:ext cx="43954" cy="17224"/>
              </a:xfrm>
              <a:custGeom>
                <a:avLst/>
                <a:gdLst>
                  <a:gd name="connsiteX0" fmla="*/ 43955 w 43954"/>
                  <a:gd name="connsiteY0" fmla="*/ 17225 h 17224"/>
                  <a:gd name="connsiteX1" fmla="*/ 36363 w 43954"/>
                  <a:gd name="connsiteY1" fmla="*/ 16332 h 17224"/>
                  <a:gd name="connsiteX2" fmla="*/ 20670 w 43954"/>
                  <a:gd name="connsiteY2" fmla="*/ 11866 h 17224"/>
                  <a:gd name="connsiteX3" fmla="*/ 6124 w 43954"/>
                  <a:gd name="connsiteY3" fmla="*/ 4530 h 17224"/>
                  <a:gd name="connsiteX4" fmla="*/ 0 w 43954"/>
                  <a:gd name="connsiteY4" fmla="*/ 0 h 17224"/>
                  <a:gd name="connsiteX5" fmla="*/ 7592 w 43954"/>
                  <a:gd name="connsiteY5" fmla="*/ 893 h 17224"/>
                  <a:gd name="connsiteX6" fmla="*/ 23222 w 43954"/>
                  <a:gd name="connsiteY6" fmla="*/ 5422 h 17224"/>
                  <a:gd name="connsiteX7" fmla="*/ 37767 w 43954"/>
                  <a:gd name="connsiteY7" fmla="*/ 12759 h 17224"/>
                  <a:gd name="connsiteX8" fmla="*/ 43955 w 43954"/>
                  <a:gd name="connsiteY8" fmla="*/ 17225 h 17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54" h="17224">
                    <a:moveTo>
                      <a:pt x="43955" y="17225"/>
                    </a:moveTo>
                    <a:cubicBezTo>
                      <a:pt x="43955" y="17225"/>
                      <a:pt x="40829" y="17161"/>
                      <a:pt x="36363" y="16332"/>
                    </a:cubicBezTo>
                    <a:cubicBezTo>
                      <a:pt x="31961" y="15502"/>
                      <a:pt x="26156" y="14035"/>
                      <a:pt x="20670" y="11866"/>
                    </a:cubicBezTo>
                    <a:cubicBezTo>
                      <a:pt x="15183" y="9760"/>
                      <a:pt x="9952" y="6890"/>
                      <a:pt x="6124" y="4530"/>
                    </a:cubicBezTo>
                    <a:cubicBezTo>
                      <a:pt x="2297" y="2105"/>
                      <a:pt x="0" y="0"/>
                      <a:pt x="0" y="0"/>
                    </a:cubicBezTo>
                    <a:cubicBezTo>
                      <a:pt x="0" y="0"/>
                      <a:pt x="3126" y="64"/>
                      <a:pt x="7592" y="893"/>
                    </a:cubicBezTo>
                    <a:cubicBezTo>
                      <a:pt x="11994" y="1723"/>
                      <a:pt x="17799" y="3190"/>
                      <a:pt x="23222" y="5422"/>
                    </a:cubicBezTo>
                    <a:cubicBezTo>
                      <a:pt x="28708" y="7528"/>
                      <a:pt x="33939" y="10399"/>
                      <a:pt x="37767" y="12759"/>
                    </a:cubicBezTo>
                    <a:cubicBezTo>
                      <a:pt x="41595" y="15183"/>
                      <a:pt x="43955" y="17225"/>
                      <a:pt x="43955" y="17225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E0EF4AA4-169B-4DCD-9922-41C33420B218}"/>
                  </a:ext>
                </a:extLst>
              </p:cNvPr>
              <p:cNvSpPr/>
              <p:nvPr/>
            </p:nvSpPr>
            <p:spPr>
              <a:xfrm>
                <a:off x="13222998" y="4270620"/>
                <a:ext cx="34832" cy="7719"/>
              </a:xfrm>
              <a:custGeom>
                <a:avLst/>
                <a:gdLst>
                  <a:gd name="connsiteX0" fmla="*/ 34832 w 34832"/>
                  <a:gd name="connsiteY0" fmla="*/ 1467 h 7719"/>
                  <a:gd name="connsiteX1" fmla="*/ 29665 w 34832"/>
                  <a:gd name="connsiteY1" fmla="*/ 4147 h 7719"/>
                  <a:gd name="connsiteX2" fmla="*/ 17926 w 34832"/>
                  <a:gd name="connsiteY2" fmla="*/ 7273 h 7719"/>
                  <a:gd name="connsiteX3" fmla="*/ 5742 w 34832"/>
                  <a:gd name="connsiteY3" fmla="*/ 7400 h 7719"/>
                  <a:gd name="connsiteX4" fmla="*/ 0 w 34832"/>
                  <a:gd name="connsiteY4" fmla="*/ 6252 h 7719"/>
                  <a:gd name="connsiteX5" fmla="*/ 5167 w 34832"/>
                  <a:gd name="connsiteY5" fmla="*/ 3572 h 7719"/>
                  <a:gd name="connsiteX6" fmla="*/ 16906 w 34832"/>
                  <a:gd name="connsiteY6" fmla="*/ 446 h 7719"/>
                  <a:gd name="connsiteX7" fmla="*/ 29091 w 34832"/>
                  <a:gd name="connsiteY7" fmla="*/ 319 h 7719"/>
                  <a:gd name="connsiteX8" fmla="*/ 34832 w 34832"/>
                  <a:gd name="connsiteY8" fmla="*/ 1467 h 7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32" h="7719">
                    <a:moveTo>
                      <a:pt x="34832" y="1467"/>
                    </a:moveTo>
                    <a:cubicBezTo>
                      <a:pt x="34832" y="1467"/>
                      <a:pt x="32791" y="2871"/>
                      <a:pt x="29665" y="4147"/>
                    </a:cubicBezTo>
                    <a:cubicBezTo>
                      <a:pt x="26539" y="5359"/>
                      <a:pt x="22265" y="6699"/>
                      <a:pt x="17926" y="7273"/>
                    </a:cubicBezTo>
                    <a:cubicBezTo>
                      <a:pt x="13588" y="7911"/>
                      <a:pt x="9123" y="7783"/>
                      <a:pt x="5742" y="7400"/>
                    </a:cubicBezTo>
                    <a:cubicBezTo>
                      <a:pt x="2360" y="7017"/>
                      <a:pt x="0" y="6252"/>
                      <a:pt x="0" y="6252"/>
                    </a:cubicBezTo>
                    <a:cubicBezTo>
                      <a:pt x="0" y="6252"/>
                      <a:pt x="2041" y="4848"/>
                      <a:pt x="5167" y="3572"/>
                    </a:cubicBezTo>
                    <a:cubicBezTo>
                      <a:pt x="8357" y="2297"/>
                      <a:pt x="12568" y="1021"/>
                      <a:pt x="16906" y="446"/>
                    </a:cubicBezTo>
                    <a:cubicBezTo>
                      <a:pt x="21244" y="-191"/>
                      <a:pt x="25710" y="-64"/>
                      <a:pt x="29091" y="319"/>
                    </a:cubicBezTo>
                    <a:cubicBezTo>
                      <a:pt x="32472" y="638"/>
                      <a:pt x="34832" y="1467"/>
                      <a:pt x="34832" y="1467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230D56B5-7850-407F-967B-EC6255D1555F}"/>
                  </a:ext>
                </a:extLst>
              </p:cNvPr>
              <p:cNvSpPr/>
              <p:nvPr/>
            </p:nvSpPr>
            <p:spPr>
              <a:xfrm>
                <a:off x="13599518" y="4239631"/>
                <a:ext cx="26411" cy="12624"/>
              </a:xfrm>
              <a:custGeom>
                <a:avLst/>
                <a:gdLst>
                  <a:gd name="connsiteX0" fmla="*/ 0 w 26411"/>
                  <a:gd name="connsiteY0" fmla="*/ 12552 h 12624"/>
                  <a:gd name="connsiteX1" fmla="*/ 3317 w 26411"/>
                  <a:gd name="connsiteY1" fmla="*/ 8852 h 12624"/>
                  <a:gd name="connsiteX2" fmla="*/ 11738 w 26411"/>
                  <a:gd name="connsiteY2" fmla="*/ 3174 h 12624"/>
                  <a:gd name="connsiteX3" fmla="*/ 21435 w 26411"/>
                  <a:gd name="connsiteY3" fmla="*/ 239 h 12624"/>
                  <a:gd name="connsiteX4" fmla="*/ 26411 w 26411"/>
                  <a:gd name="connsiteY4" fmla="*/ 48 h 12624"/>
                  <a:gd name="connsiteX5" fmla="*/ 23094 w 26411"/>
                  <a:gd name="connsiteY5" fmla="*/ 3748 h 12624"/>
                  <a:gd name="connsiteX6" fmla="*/ 14673 w 26411"/>
                  <a:gd name="connsiteY6" fmla="*/ 9426 h 12624"/>
                  <a:gd name="connsiteX7" fmla="*/ 4976 w 26411"/>
                  <a:gd name="connsiteY7" fmla="*/ 12360 h 12624"/>
                  <a:gd name="connsiteX8" fmla="*/ 0 w 26411"/>
                  <a:gd name="connsiteY8" fmla="*/ 12552 h 12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411" h="12624">
                    <a:moveTo>
                      <a:pt x="0" y="12552"/>
                    </a:moveTo>
                    <a:cubicBezTo>
                      <a:pt x="0" y="12552"/>
                      <a:pt x="1212" y="10765"/>
                      <a:pt x="3317" y="8852"/>
                    </a:cubicBezTo>
                    <a:cubicBezTo>
                      <a:pt x="5423" y="6938"/>
                      <a:pt x="8421" y="4705"/>
                      <a:pt x="11738" y="3174"/>
                    </a:cubicBezTo>
                    <a:cubicBezTo>
                      <a:pt x="14992" y="1579"/>
                      <a:pt x="18628" y="686"/>
                      <a:pt x="21435" y="239"/>
                    </a:cubicBezTo>
                    <a:cubicBezTo>
                      <a:pt x="24242" y="-143"/>
                      <a:pt x="26411" y="48"/>
                      <a:pt x="26411" y="48"/>
                    </a:cubicBezTo>
                    <a:cubicBezTo>
                      <a:pt x="26411" y="48"/>
                      <a:pt x="25199" y="1834"/>
                      <a:pt x="23094" y="3748"/>
                    </a:cubicBezTo>
                    <a:cubicBezTo>
                      <a:pt x="20989" y="5662"/>
                      <a:pt x="17990" y="7894"/>
                      <a:pt x="14673" y="9426"/>
                    </a:cubicBezTo>
                    <a:cubicBezTo>
                      <a:pt x="11419" y="11021"/>
                      <a:pt x="7783" y="11914"/>
                      <a:pt x="4976" y="12360"/>
                    </a:cubicBezTo>
                    <a:cubicBezTo>
                      <a:pt x="2169" y="12807"/>
                      <a:pt x="0" y="12552"/>
                      <a:pt x="0" y="12552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8D86993B-A4D3-4AE5-97CD-DBBD000AE45A}"/>
                  </a:ext>
                </a:extLst>
              </p:cNvPr>
              <p:cNvSpPr/>
              <p:nvPr/>
            </p:nvSpPr>
            <p:spPr>
              <a:xfrm>
                <a:off x="13603409" y="4270643"/>
                <a:ext cx="27878" cy="7631"/>
              </a:xfrm>
              <a:custGeom>
                <a:avLst/>
                <a:gdLst>
                  <a:gd name="connsiteX0" fmla="*/ 0 w 27878"/>
                  <a:gd name="connsiteY0" fmla="*/ 1444 h 7631"/>
                  <a:gd name="connsiteX1" fmla="*/ 4721 w 27878"/>
                  <a:gd name="connsiteY1" fmla="*/ 296 h 7631"/>
                  <a:gd name="connsiteX2" fmla="*/ 14545 w 27878"/>
                  <a:gd name="connsiteY2" fmla="*/ 423 h 7631"/>
                  <a:gd name="connsiteX3" fmla="*/ 23859 w 27878"/>
                  <a:gd name="connsiteY3" fmla="*/ 3549 h 7631"/>
                  <a:gd name="connsiteX4" fmla="*/ 27879 w 27878"/>
                  <a:gd name="connsiteY4" fmla="*/ 6165 h 7631"/>
                  <a:gd name="connsiteX5" fmla="*/ 23222 w 27878"/>
                  <a:gd name="connsiteY5" fmla="*/ 7313 h 7631"/>
                  <a:gd name="connsiteX6" fmla="*/ 13333 w 27878"/>
                  <a:gd name="connsiteY6" fmla="*/ 7185 h 7631"/>
                  <a:gd name="connsiteX7" fmla="*/ 4019 w 27878"/>
                  <a:gd name="connsiteY7" fmla="*/ 4059 h 7631"/>
                  <a:gd name="connsiteX8" fmla="*/ 0 w 27878"/>
                  <a:gd name="connsiteY8" fmla="*/ 1444 h 7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78" h="7631">
                    <a:moveTo>
                      <a:pt x="0" y="1444"/>
                    </a:moveTo>
                    <a:cubicBezTo>
                      <a:pt x="0" y="1444"/>
                      <a:pt x="1914" y="615"/>
                      <a:pt x="4721" y="296"/>
                    </a:cubicBezTo>
                    <a:cubicBezTo>
                      <a:pt x="7464" y="-24"/>
                      <a:pt x="11100" y="-215"/>
                      <a:pt x="14545" y="423"/>
                    </a:cubicBezTo>
                    <a:cubicBezTo>
                      <a:pt x="18054" y="997"/>
                      <a:pt x="21435" y="2273"/>
                      <a:pt x="23859" y="3549"/>
                    </a:cubicBezTo>
                    <a:cubicBezTo>
                      <a:pt x="26348" y="4825"/>
                      <a:pt x="27879" y="6165"/>
                      <a:pt x="27879" y="6165"/>
                    </a:cubicBezTo>
                    <a:cubicBezTo>
                      <a:pt x="27879" y="6165"/>
                      <a:pt x="25965" y="6994"/>
                      <a:pt x="23222" y="7313"/>
                    </a:cubicBezTo>
                    <a:cubicBezTo>
                      <a:pt x="20478" y="7696"/>
                      <a:pt x="16842" y="7823"/>
                      <a:pt x="13333" y="7185"/>
                    </a:cubicBezTo>
                    <a:cubicBezTo>
                      <a:pt x="9825" y="6611"/>
                      <a:pt x="6443" y="5335"/>
                      <a:pt x="4019" y="4059"/>
                    </a:cubicBezTo>
                    <a:cubicBezTo>
                      <a:pt x="1531" y="2847"/>
                      <a:pt x="0" y="1444"/>
                      <a:pt x="0" y="1444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23A4AD55-E1DF-4C83-86CE-32EA202BBA63}"/>
                  </a:ext>
                </a:extLst>
              </p:cNvPr>
              <p:cNvSpPr/>
              <p:nvPr/>
            </p:nvSpPr>
            <p:spPr>
              <a:xfrm>
                <a:off x="13441426" y="4102200"/>
                <a:ext cx="8241" cy="49632"/>
              </a:xfrm>
              <a:custGeom>
                <a:avLst/>
                <a:gdLst>
                  <a:gd name="connsiteX0" fmla="*/ 1092 w 8241"/>
                  <a:gd name="connsiteY0" fmla="*/ 49633 h 49632"/>
                  <a:gd name="connsiteX1" fmla="*/ 135 w 8241"/>
                  <a:gd name="connsiteY1" fmla="*/ 41658 h 49632"/>
                  <a:gd name="connsiteX2" fmla="*/ 709 w 8241"/>
                  <a:gd name="connsiteY2" fmla="*/ 24434 h 49632"/>
                  <a:gd name="connsiteX3" fmla="*/ 4281 w 8241"/>
                  <a:gd name="connsiteY3" fmla="*/ 7528 h 49632"/>
                  <a:gd name="connsiteX4" fmla="*/ 7152 w 8241"/>
                  <a:gd name="connsiteY4" fmla="*/ 0 h 49632"/>
                  <a:gd name="connsiteX5" fmla="*/ 8109 w 8241"/>
                  <a:gd name="connsiteY5" fmla="*/ 7974 h 49632"/>
                  <a:gd name="connsiteX6" fmla="*/ 7471 w 8241"/>
                  <a:gd name="connsiteY6" fmla="*/ 25263 h 49632"/>
                  <a:gd name="connsiteX7" fmla="*/ 3899 w 8241"/>
                  <a:gd name="connsiteY7" fmla="*/ 42169 h 49632"/>
                  <a:gd name="connsiteX8" fmla="*/ 1092 w 8241"/>
                  <a:gd name="connsiteY8" fmla="*/ 49633 h 49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41" h="49632">
                    <a:moveTo>
                      <a:pt x="1092" y="49633"/>
                    </a:moveTo>
                    <a:cubicBezTo>
                      <a:pt x="1092" y="49633"/>
                      <a:pt x="390" y="46379"/>
                      <a:pt x="135" y="41658"/>
                    </a:cubicBezTo>
                    <a:cubicBezTo>
                      <a:pt x="-120" y="36937"/>
                      <a:pt x="-57" y="30622"/>
                      <a:pt x="709" y="24434"/>
                    </a:cubicBezTo>
                    <a:cubicBezTo>
                      <a:pt x="1474" y="18245"/>
                      <a:pt x="2942" y="12121"/>
                      <a:pt x="4281" y="7528"/>
                    </a:cubicBezTo>
                    <a:cubicBezTo>
                      <a:pt x="5685" y="2998"/>
                      <a:pt x="7152" y="0"/>
                      <a:pt x="7152" y="0"/>
                    </a:cubicBezTo>
                    <a:cubicBezTo>
                      <a:pt x="7152" y="0"/>
                      <a:pt x="7854" y="3254"/>
                      <a:pt x="8109" y="7974"/>
                    </a:cubicBezTo>
                    <a:cubicBezTo>
                      <a:pt x="8364" y="12759"/>
                      <a:pt x="8300" y="19011"/>
                      <a:pt x="7471" y="25263"/>
                    </a:cubicBezTo>
                    <a:cubicBezTo>
                      <a:pt x="6769" y="31451"/>
                      <a:pt x="5238" y="37576"/>
                      <a:pt x="3899" y="42169"/>
                    </a:cubicBezTo>
                    <a:cubicBezTo>
                      <a:pt x="2559" y="46698"/>
                      <a:pt x="1092" y="49633"/>
                      <a:pt x="1092" y="49633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AD49E8F9-870D-400E-98B8-C9557CB99D20}"/>
                  </a:ext>
                </a:extLst>
              </p:cNvPr>
              <p:cNvSpPr/>
              <p:nvPr/>
            </p:nvSpPr>
            <p:spPr>
              <a:xfrm>
                <a:off x="13405516" y="4224049"/>
                <a:ext cx="48165" cy="8548"/>
              </a:xfrm>
              <a:custGeom>
                <a:avLst/>
                <a:gdLst>
                  <a:gd name="connsiteX0" fmla="*/ 0 w 48165"/>
                  <a:gd name="connsiteY0" fmla="*/ 8549 h 8548"/>
                  <a:gd name="connsiteX1" fmla="*/ 1404 w 48165"/>
                  <a:gd name="connsiteY1" fmla="*/ 6826 h 8548"/>
                  <a:gd name="connsiteX2" fmla="*/ 6316 w 48165"/>
                  <a:gd name="connsiteY2" fmla="*/ 3317 h 8548"/>
                  <a:gd name="connsiteX3" fmla="*/ 14418 w 48165"/>
                  <a:gd name="connsiteY3" fmla="*/ 638 h 8548"/>
                  <a:gd name="connsiteX4" fmla="*/ 24051 w 48165"/>
                  <a:gd name="connsiteY4" fmla="*/ 0 h 8548"/>
                  <a:gd name="connsiteX5" fmla="*/ 33429 w 48165"/>
                  <a:gd name="connsiteY5" fmla="*/ 1531 h 8548"/>
                  <a:gd name="connsiteX6" fmla="*/ 41148 w 48165"/>
                  <a:gd name="connsiteY6" fmla="*/ 4402 h 8548"/>
                  <a:gd name="connsiteX7" fmla="*/ 48165 w 48165"/>
                  <a:gd name="connsiteY7" fmla="*/ 8357 h 8548"/>
                  <a:gd name="connsiteX8" fmla="*/ 40191 w 48165"/>
                  <a:gd name="connsiteY8" fmla="*/ 8166 h 8548"/>
                  <a:gd name="connsiteX9" fmla="*/ 32408 w 48165"/>
                  <a:gd name="connsiteY9" fmla="*/ 7528 h 8548"/>
                  <a:gd name="connsiteX10" fmla="*/ 23668 w 48165"/>
                  <a:gd name="connsiteY10" fmla="*/ 6890 h 8548"/>
                  <a:gd name="connsiteX11" fmla="*/ 15056 w 48165"/>
                  <a:gd name="connsiteY11" fmla="*/ 6698 h 8548"/>
                  <a:gd name="connsiteX12" fmla="*/ 7528 w 48165"/>
                  <a:gd name="connsiteY12" fmla="*/ 7081 h 8548"/>
                  <a:gd name="connsiteX13" fmla="*/ 2105 w 48165"/>
                  <a:gd name="connsiteY13" fmla="*/ 8038 h 8548"/>
                  <a:gd name="connsiteX14" fmla="*/ 0 w 48165"/>
                  <a:gd name="connsiteY14" fmla="*/ 8549 h 8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165" h="8548">
                    <a:moveTo>
                      <a:pt x="0" y="8549"/>
                    </a:moveTo>
                    <a:cubicBezTo>
                      <a:pt x="0" y="8549"/>
                      <a:pt x="383" y="7847"/>
                      <a:pt x="1404" y="6826"/>
                    </a:cubicBezTo>
                    <a:cubicBezTo>
                      <a:pt x="2488" y="5806"/>
                      <a:pt x="4019" y="4402"/>
                      <a:pt x="6316" y="3317"/>
                    </a:cubicBezTo>
                    <a:cubicBezTo>
                      <a:pt x="8612" y="2297"/>
                      <a:pt x="11292" y="1085"/>
                      <a:pt x="14418" y="638"/>
                    </a:cubicBezTo>
                    <a:cubicBezTo>
                      <a:pt x="17480" y="-191"/>
                      <a:pt x="20733" y="64"/>
                      <a:pt x="24051" y="0"/>
                    </a:cubicBezTo>
                    <a:cubicBezTo>
                      <a:pt x="27368" y="64"/>
                      <a:pt x="30494" y="957"/>
                      <a:pt x="33429" y="1531"/>
                    </a:cubicBezTo>
                    <a:cubicBezTo>
                      <a:pt x="36427" y="2041"/>
                      <a:pt x="38979" y="3445"/>
                      <a:pt x="41148" y="4402"/>
                    </a:cubicBezTo>
                    <a:cubicBezTo>
                      <a:pt x="45550" y="6443"/>
                      <a:pt x="48165" y="8357"/>
                      <a:pt x="48165" y="8357"/>
                    </a:cubicBezTo>
                    <a:cubicBezTo>
                      <a:pt x="48165" y="8357"/>
                      <a:pt x="44784" y="8613"/>
                      <a:pt x="40191" y="8166"/>
                    </a:cubicBezTo>
                    <a:cubicBezTo>
                      <a:pt x="37894" y="7847"/>
                      <a:pt x="35215" y="7592"/>
                      <a:pt x="32408" y="7528"/>
                    </a:cubicBezTo>
                    <a:cubicBezTo>
                      <a:pt x="29601" y="7528"/>
                      <a:pt x="26603" y="6762"/>
                      <a:pt x="23668" y="6890"/>
                    </a:cubicBezTo>
                    <a:cubicBezTo>
                      <a:pt x="20733" y="6826"/>
                      <a:pt x="17799" y="6443"/>
                      <a:pt x="15056" y="6698"/>
                    </a:cubicBezTo>
                    <a:cubicBezTo>
                      <a:pt x="12249" y="6698"/>
                      <a:pt x="9697" y="6698"/>
                      <a:pt x="7528" y="7081"/>
                    </a:cubicBezTo>
                    <a:cubicBezTo>
                      <a:pt x="5359" y="7464"/>
                      <a:pt x="3381" y="7592"/>
                      <a:pt x="2105" y="8038"/>
                    </a:cubicBezTo>
                    <a:cubicBezTo>
                      <a:pt x="829" y="8230"/>
                      <a:pt x="0" y="8549"/>
                      <a:pt x="0" y="8549"/>
                    </a:cubicBezTo>
                    <a:close/>
                  </a:path>
                </a:pathLst>
              </a:custGeom>
              <a:solidFill>
                <a:srgbClr val="E8D7CC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9F6ABDF5-859C-4BDB-B753-DD114FEDDC07}"/>
                </a:ext>
              </a:extLst>
            </p:cNvPr>
            <p:cNvSpPr/>
            <p:nvPr/>
          </p:nvSpPr>
          <p:spPr>
            <a:xfrm>
              <a:off x="1205008" y="2369428"/>
              <a:ext cx="76592" cy="277445"/>
            </a:xfrm>
            <a:custGeom>
              <a:avLst/>
              <a:gdLst>
                <a:gd name="connsiteX0" fmla="*/ 15120 w 76592"/>
                <a:gd name="connsiteY0" fmla="*/ 277446 h 277445"/>
                <a:gd name="connsiteX1" fmla="*/ 13780 w 76592"/>
                <a:gd name="connsiteY1" fmla="*/ 277446 h 277445"/>
                <a:gd name="connsiteX2" fmla="*/ 13971 w 76592"/>
                <a:gd name="connsiteY2" fmla="*/ 263666 h 277445"/>
                <a:gd name="connsiteX3" fmla="*/ 54226 w 76592"/>
                <a:gd name="connsiteY3" fmla="*/ 248546 h 277445"/>
                <a:gd name="connsiteX4" fmla="*/ 61244 w 76592"/>
                <a:gd name="connsiteY4" fmla="*/ 201465 h 277445"/>
                <a:gd name="connsiteX5" fmla="*/ 0 w 76592"/>
                <a:gd name="connsiteY5" fmla="*/ 201465 h 277445"/>
                <a:gd name="connsiteX6" fmla="*/ 2424 w 76592"/>
                <a:gd name="connsiteY6" fmla="*/ 35725 h 277445"/>
                <a:gd name="connsiteX7" fmla="*/ 63221 w 76592"/>
                <a:gd name="connsiteY7" fmla="*/ 0 h 277445"/>
                <a:gd name="connsiteX8" fmla="*/ 70239 w 76592"/>
                <a:gd name="connsiteY8" fmla="*/ 11866 h 277445"/>
                <a:gd name="connsiteX9" fmla="*/ 16140 w 76592"/>
                <a:gd name="connsiteY9" fmla="*/ 43636 h 277445"/>
                <a:gd name="connsiteX10" fmla="*/ 13971 w 76592"/>
                <a:gd name="connsiteY10" fmla="*/ 187622 h 277445"/>
                <a:gd name="connsiteX11" fmla="*/ 71961 w 76592"/>
                <a:gd name="connsiteY11" fmla="*/ 187622 h 277445"/>
                <a:gd name="connsiteX12" fmla="*/ 73365 w 76592"/>
                <a:gd name="connsiteY12" fmla="*/ 192662 h 277445"/>
                <a:gd name="connsiteX13" fmla="*/ 65135 w 76592"/>
                <a:gd name="connsiteY13" fmla="*/ 256904 h 277445"/>
                <a:gd name="connsiteX14" fmla="*/ 15120 w 76592"/>
                <a:gd name="connsiteY14" fmla="*/ 277446 h 27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592" h="277445">
                  <a:moveTo>
                    <a:pt x="15120" y="277446"/>
                  </a:moveTo>
                  <a:cubicBezTo>
                    <a:pt x="14673" y="277446"/>
                    <a:pt x="14226" y="277446"/>
                    <a:pt x="13780" y="277446"/>
                  </a:cubicBezTo>
                  <a:lnTo>
                    <a:pt x="13971" y="263666"/>
                  </a:lnTo>
                  <a:cubicBezTo>
                    <a:pt x="32855" y="263347"/>
                    <a:pt x="46379" y="258754"/>
                    <a:pt x="54226" y="248546"/>
                  </a:cubicBezTo>
                  <a:cubicBezTo>
                    <a:pt x="65582" y="233682"/>
                    <a:pt x="63094" y="211354"/>
                    <a:pt x="61244" y="201465"/>
                  </a:cubicBezTo>
                  <a:lnTo>
                    <a:pt x="0" y="201465"/>
                  </a:lnTo>
                  <a:lnTo>
                    <a:pt x="2424" y="35725"/>
                  </a:lnTo>
                  <a:lnTo>
                    <a:pt x="63221" y="0"/>
                  </a:lnTo>
                  <a:lnTo>
                    <a:pt x="70239" y="11866"/>
                  </a:lnTo>
                  <a:lnTo>
                    <a:pt x="16140" y="43636"/>
                  </a:lnTo>
                  <a:lnTo>
                    <a:pt x="13971" y="187622"/>
                  </a:lnTo>
                  <a:lnTo>
                    <a:pt x="71961" y="187622"/>
                  </a:lnTo>
                  <a:lnTo>
                    <a:pt x="73365" y="192662"/>
                  </a:lnTo>
                  <a:cubicBezTo>
                    <a:pt x="73811" y="194257"/>
                    <a:pt x="84210" y="231960"/>
                    <a:pt x="65135" y="256904"/>
                  </a:cubicBezTo>
                  <a:cubicBezTo>
                    <a:pt x="54736" y="270556"/>
                    <a:pt x="37894" y="277446"/>
                    <a:pt x="15120" y="277446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63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30" name="Graphic 4">
              <a:extLst>
                <a:ext uri="{FF2B5EF4-FFF2-40B4-BE49-F238E27FC236}">
                  <a16:creationId xmlns:a16="http://schemas.microsoft.com/office/drawing/2014/main" id="{353FE765-7EDE-47FD-9E95-79C43CF545E0}"/>
                </a:ext>
              </a:extLst>
            </p:cNvPr>
            <p:cNvGrpSpPr/>
            <p:nvPr/>
          </p:nvGrpSpPr>
          <p:grpSpPr>
            <a:xfrm>
              <a:off x="1048136" y="2416438"/>
              <a:ext cx="317892" cy="82621"/>
              <a:chOff x="13270653" y="4232272"/>
              <a:chExt cx="317892" cy="82621"/>
            </a:xfrm>
          </p:grpSpPr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949F35A1-33D7-42B4-9EDB-987AEFC6FCC0}"/>
                  </a:ext>
                </a:extLst>
              </p:cNvPr>
              <p:cNvSpPr/>
              <p:nvPr/>
            </p:nvSpPr>
            <p:spPr>
              <a:xfrm>
                <a:off x="13270653" y="4246696"/>
                <a:ext cx="110599" cy="47974"/>
              </a:xfrm>
              <a:custGeom>
                <a:avLst/>
                <a:gdLst>
                  <a:gd name="connsiteX0" fmla="*/ 7464 w 110599"/>
                  <a:gd name="connsiteY0" fmla="*/ 0 h 47974"/>
                  <a:gd name="connsiteX1" fmla="*/ 0 w 110599"/>
                  <a:gd name="connsiteY1" fmla="*/ 37512 h 47974"/>
                  <a:gd name="connsiteX2" fmla="*/ 109345 w 110599"/>
                  <a:gd name="connsiteY2" fmla="*/ 47974 h 47974"/>
                  <a:gd name="connsiteX3" fmla="*/ 109026 w 110599"/>
                  <a:gd name="connsiteY3" fmla="*/ 0 h 47974"/>
                  <a:gd name="connsiteX4" fmla="*/ 7464 w 110599"/>
                  <a:gd name="connsiteY4" fmla="*/ 0 h 47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599" h="47974">
                    <a:moveTo>
                      <a:pt x="7464" y="0"/>
                    </a:moveTo>
                    <a:lnTo>
                      <a:pt x="0" y="37512"/>
                    </a:lnTo>
                    <a:cubicBezTo>
                      <a:pt x="0" y="37512"/>
                      <a:pt x="56650" y="41276"/>
                      <a:pt x="109345" y="47974"/>
                    </a:cubicBezTo>
                    <a:cubicBezTo>
                      <a:pt x="112344" y="20478"/>
                      <a:pt x="109026" y="0"/>
                      <a:pt x="109026" y="0"/>
                    </a:cubicBezTo>
                    <a:lnTo>
                      <a:pt x="7464" y="0"/>
                    </a:lnTo>
                    <a:close/>
                  </a:path>
                </a:pathLst>
              </a:custGeom>
              <a:solidFill>
                <a:srgbClr val="FFFFFF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F7227D63-565C-4521-B17D-91B18E995524}"/>
                  </a:ext>
                </a:extLst>
              </p:cNvPr>
              <p:cNvSpPr/>
              <p:nvPr/>
            </p:nvSpPr>
            <p:spPr>
              <a:xfrm>
                <a:off x="13474798" y="4246633"/>
                <a:ext cx="108771" cy="47986"/>
              </a:xfrm>
              <a:custGeom>
                <a:avLst/>
                <a:gdLst>
                  <a:gd name="connsiteX0" fmla="*/ 4721 w 108771"/>
                  <a:gd name="connsiteY0" fmla="*/ 3828 h 47986"/>
                  <a:gd name="connsiteX1" fmla="*/ 0 w 108771"/>
                  <a:gd name="connsiteY1" fmla="*/ 47974 h 47986"/>
                  <a:gd name="connsiteX2" fmla="*/ 108771 w 108771"/>
                  <a:gd name="connsiteY2" fmla="*/ 34067 h 47986"/>
                  <a:gd name="connsiteX3" fmla="*/ 100605 w 108771"/>
                  <a:gd name="connsiteY3" fmla="*/ 0 h 47986"/>
                  <a:gd name="connsiteX4" fmla="*/ 4721 w 108771"/>
                  <a:gd name="connsiteY4" fmla="*/ 3828 h 47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771" h="47986">
                    <a:moveTo>
                      <a:pt x="4721" y="3828"/>
                    </a:moveTo>
                    <a:lnTo>
                      <a:pt x="0" y="47974"/>
                    </a:lnTo>
                    <a:cubicBezTo>
                      <a:pt x="0" y="47974"/>
                      <a:pt x="63094" y="48931"/>
                      <a:pt x="108771" y="34067"/>
                    </a:cubicBezTo>
                    <a:cubicBezTo>
                      <a:pt x="103795" y="446"/>
                      <a:pt x="100605" y="0"/>
                      <a:pt x="100605" y="0"/>
                    </a:cubicBezTo>
                    <a:lnTo>
                      <a:pt x="4721" y="3828"/>
                    </a:lnTo>
                    <a:close/>
                  </a:path>
                </a:pathLst>
              </a:custGeom>
              <a:solidFill>
                <a:srgbClr val="FFFFFF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6AB3A38C-99EA-4C39-B24A-9D9BF50DE9DD}"/>
                  </a:ext>
                </a:extLst>
              </p:cNvPr>
              <p:cNvSpPr/>
              <p:nvPr/>
            </p:nvSpPr>
            <p:spPr>
              <a:xfrm>
                <a:off x="13290046" y="4236298"/>
                <a:ext cx="78595" cy="78595"/>
              </a:xfrm>
              <a:custGeom>
                <a:avLst/>
                <a:gdLst>
                  <a:gd name="connsiteX0" fmla="*/ 78596 w 78595"/>
                  <a:gd name="connsiteY0" fmla="*/ 39298 h 78595"/>
                  <a:gd name="connsiteX1" fmla="*/ 39298 w 78595"/>
                  <a:gd name="connsiteY1" fmla="*/ 78596 h 78595"/>
                  <a:gd name="connsiteX2" fmla="*/ 0 w 78595"/>
                  <a:gd name="connsiteY2" fmla="*/ 39298 h 78595"/>
                  <a:gd name="connsiteX3" fmla="*/ 39298 w 78595"/>
                  <a:gd name="connsiteY3" fmla="*/ 0 h 78595"/>
                  <a:gd name="connsiteX4" fmla="*/ 78596 w 78595"/>
                  <a:gd name="connsiteY4" fmla="*/ 39298 h 7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595" h="78595">
                    <a:moveTo>
                      <a:pt x="78596" y="39298"/>
                    </a:moveTo>
                    <a:cubicBezTo>
                      <a:pt x="78596" y="60989"/>
                      <a:pt x="60988" y="78596"/>
                      <a:pt x="39298" y="78596"/>
                    </a:cubicBezTo>
                    <a:cubicBezTo>
                      <a:pt x="17607" y="78596"/>
                      <a:pt x="0" y="60989"/>
                      <a:pt x="0" y="39298"/>
                    </a:cubicBezTo>
                    <a:cubicBezTo>
                      <a:pt x="0" y="17607"/>
                      <a:pt x="17607" y="0"/>
                      <a:pt x="39298" y="0"/>
                    </a:cubicBezTo>
                    <a:cubicBezTo>
                      <a:pt x="60988" y="-64"/>
                      <a:pt x="78596" y="17544"/>
                      <a:pt x="78596" y="39298"/>
                    </a:cubicBezTo>
                    <a:close/>
                  </a:path>
                </a:pathLst>
              </a:custGeom>
              <a:solidFill>
                <a:srgbClr val="000000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A19DCDF4-4B92-4DFC-A694-9222DEA5F8B0}"/>
                  </a:ext>
                </a:extLst>
              </p:cNvPr>
              <p:cNvSpPr/>
              <p:nvPr/>
            </p:nvSpPr>
            <p:spPr>
              <a:xfrm>
                <a:off x="13270716" y="4232272"/>
                <a:ext cx="109026" cy="19247"/>
              </a:xfrm>
              <a:custGeom>
                <a:avLst/>
                <a:gdLst>
                  <a:gd name="connsiteX0" fmla="*/ 0 w 109026"/>
                  <a:gd name="connsiteY0" fmla="*/ 18635 h 19247"/>
                  <a:gd name="connsiteX1" fmla="*/ 109026 w 109026"/>
                  <a:gd name="connsiteY1" fmla="*/ 14361 h 19247"/>
                  <a:gd name="connsiteX2" fmla="*/ 0 w 109026"/>
                  <a:gd name="connsiteY2" fmla="*/ 18635 h 19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26" h="19247">
                    <a:moveTo>
                      <a:pt x="0" y="18635"/>
                    </a:moveTo>
                    <a:cubicBezTo>
                      <a:pt x="0" y="18635"/>
                      <a:pt x="58947" y="-20280"/>
                      <a:pt x="109026" y="14361"/>
                    </a:cubicBezTo>
                    <a:cubicBezTo>
                      <a:pt x="82934" y="21633"/>
                      <a:pt x="0" y="18635"/>
                      <a:pt x="0" y="18635"/>
                    </a:cubicBezTo>
                    <a:close/>
                  </a:path>
                </a:pathLst>
              </a:custGeom>
              <a:solidFill>
                <a:srgbClr val="000000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7CFB4E56-11C9-4AA4-8058-E753850BDCC9}"/>
                  </a:ext>
                </a:extLst>
              </p:cNvPr>
              <p:cNvSpPr/>
              <p:nvPr/>
            </p:nvSpPr>
            <p:spPr>
              <a:xfrm>
                <a:off x="13489152" y="4236298"/>
                <a:ext cx="78595" cy="78595"/>
              </a:xfrm>
              <a:custGeom>
                <a:avLst/>
                <a:gdLst>
                  <a:gd name="connsiteX0" fmla="*/ 0 w 78595"/>
                  <a:gd name="connsiteY0" fmla="*/ 39298 h 78595"/>
                  <a:gd name="connsiteX1" fmla="*/ 39298 w 78595"/>
                  <a:gd name="connsiteY1" fmla="*/ 78596 h 78595"/>
                  <a:gd name="connsiteX2" fmla="*/ 78596 w 78595"/>
                  <a:gd name="connsiteY2" fmla="*/ 39298 h 78595"/>
                  <a:gd name="connsiteX3" fmla="*/ 39298 w 78595"/>
                  <a:gd name="connsiteY3" fmla="*/ 0 h 78595"/>
                  <a:gd name="connsiteX4" fmla="*/ 0 w 78595"/>
                  <a:gd name="connsiteY4" fmla="*/ 39298 h 7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595" h="78595">
                    <a:moveTo>
                      <a:pt x="0" y="39298"/>
                    </a:moveTo>
                    <a:cubicBezTo>
                      <a:pt x="0" y="60989"/>
                      <a:pt x="17608" y="78596"/>
                      <a:pt x="39298" y="78596"/>
                    </a:cubicBezTo>
                    <a:cubicBezTo>
                      <a:pt x="60988" y="78596"/>
                      <a:pt x="78596" y="60989"/>
                      <a:pt x="78596" y="39298"/>
                    </a:cubicBezTo>
                    <a:cubicBezTo>
                      <a:pt x="78596" y="17607"/>
                      <a:pt x="60988" y="0"/>
                      <a:pt x="39298" y="0"/>
                    </a:cubicBezTo>
                    <a:cubicBezTo>
                      <a:pt x="17544" y="-64"/>
                      <a:pt x="0" y="17544"/>
                      <a:pt x="0" y="39298"/>
                    </a:cubicBezTo>
                    <a:close/>
                  </a:path>
                </a:pathLst>
              </a:custGeom>
              <a:solidFill>
                <a:srgbClr val="000000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7CA2411A-F2A8-48B3-ADCC-A8609AFFA343}"/>
                  </a:ext>
                </a:extLst>
              </p:cNvPr>
              <p:cNvSpPr/>
              <p:nvPr/>
            </p:nvSpPr>
            <p:spPr>
              <a:xfrm>
                <a:off x="13479519" y="4232546"/>
                <a:ext cx="109026" cy="19641"/>
              </a:xfrm>
              <a:custGeom>
                <a:avLst/>
                <a:gdLst>
                  <a:gd name="connsiteX0" fmla="*/ 109026 w 109026"/>
                  <a:gd name="connsiteY0" fmla="*/ 14469 h 19641"/>
                  <a:gd name="connsiteX1" fmla="*/ 0 w 109026"/>
                  <a:gd name="connsiteY1" fmla="*/ 17850 h 19641"/>
                  <a:gd name="connsiteX2" fmla="*/ 109026 w 109026"/>
                  <a:gd name="connsiteY2" fmla="*/ 14469 h 1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026" h="19641">
                    <a:moveTo>
                      <a:pt x="109026" y="14469"/>
                    </a:moveTo>
                    <a:cubicBezTo>
                      <a:pt x="109026" y="14469"/>
                      <a:pt x="47528" y="-20235"/>
                      <a:pt x="0" y="17850"/>
                    </a:cubicBezTo>
                    <a:cubicBezTo>
                      <a:pt x="26475" y="23337"/>
                      <a:pt x="109026" y="14469"/>
                      <a:pt x="109026" y="14469"/>
                    </a:cubicBezTo>
                    <a:close/>
                  </a:path>
                </a:pathLst>
              </a:custGeom>
              <a:solidFill>
                <a:srgbClr val="000000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1" name="Graphic 4">
              <a:extLst>
                <a:ext uri="{FF2B5EF4-FFF2-40B4-BE49-F238E27FC236}">
                  <a16:creationId xmlns:a16="http://schemas.microsoft.com/office/drawing/2014/main" id="{10DEB9CF-D429-4E74-A85D-CB9ADDAA6DCD}"/>
                </a:ext>
              </a:extLst>
            </p:cNvPr>
            <p:cNvGrpSpPr/>
            <p:nvPr/>
          </p:nvGrpSpPr>
          <p:grpSpPr>
            <a:xfrm>
              <a:off x="1022043" y="2280433"/>
              <a:ext cx="370650" cy="103112"/>
              <a:chOff x="13244560" y="4096267"/>
              <a:chExt cx="370650" cy="103112"/>
            </a:xfrm>
            <a:solidFill>
              <a:srgbClr val="000000"/>
            </a:solidFill>
          </p:grpSpPr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BBD3B233-8C4D-4859-88C6-1DA0B2E9C428}"/>
                  </a:ext>
                </a:extLst>
              </p:cNvPr>
              <p:cNvSpPr/>
              <p:nvPr/>
            </p:nvSpPr>
            <p:spPr>
              <a:xfrm>
                <a:off x="13244560" y="4096267"/>
                <a:ext cx="154241" cy="102327"/>
              </a:xfrm>
              <a:custGeom>
                <a:avLst/>
                <a:gdLst>
                  <a:gd name="connsiteX0" fmla="*/ 0 w 154241"/>
                  <a:gd name="connsiteY0" fmla="*/ 54034 h 102327"/>
                  <a:gd name="connsiteX1" fmla="*/ 0 w 154241"/>
                  <a:gd name="connsiteY1" fmla="*/ 102328 h 102327"/>
                  <a:gd name="connsiteX2" fmla="*/ 148197 w 154241"/>
                  <a:gd name="connsiteY2" fmla="*/ 86188 h 102327"/>
                  <a:gd name="connsiteX3" fmla="*/ 153938 w 154241"/>
                  <a:gd name="connsiteY3" fmla="*/ 0 h 102327"/>
                  <a:gd name="connsiteX4" fmla="*/ 141307 w 154241"/>
                  <a:gd name="connsiteY4" fmla="*/ 44848 h 102327"/>
                  <a:gd name="connsiteX5" fmla="*/ 137862 w 154241"/>
                  <a:gd name="connsiteY5" fmla="*/ 0 h 102327"/>
                  <a:gd name="connsiteX6" fmla="*/ 0 w 154241"/>
                  <a:gd name="connsiteY6" fmla="*/ 54034 h 10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41" h="102327">
                    <a:moveTo>
                      <a:pt x="0" y="54034"/>
                    </a:moveTo>
                    <a:lnTo>
                      <a:pt x="0" y="102328"/>
                    </a:lnTo>
                    <a:cubicBezTo>
                      <a:pt x="0" y="102328"/>
                      <a:pt x="136713" y="100031"/>
                      <a:pt x="148197" y="86188"/>
                    </a:cubicBezTo>
                    <a:cubicBezTo>
                      <a:pt x="156235" y="58628"/>
                      <a:pt x="153938" y="0"/>
                      <a:pt x="153938" y="0"/>
                    </a:cubicBezTo>
                    <a:lnTo>
                      <a:pt x="141307" y="44848"/>
                    </a:lnTo>
                    <a:lnTo>
                      <a:pt x="137862" y="0"/>
                    </a:lnTo>
                    <a:lnTo>
                      <a:pt x="0" y="54034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D1984131-B99F-43C0-BB00-3F33A6E49397}"/>
                  </a:ext>
                </a:extLst>
              </p:cNvPr>
              <p:cNvSpPr/>
              <p:nvPr/>
            </p:nvSpPr>
            <p:spPr>
              <a:xfrm>
                <a:off x="13464718" y="4096267"/>
                <a:ext cx="150493" cy="103112"/>
              </a:xfrm>
              <a:custGeom>
                <a:avLst/>
                <a:gdLst>
                  <a:gd name="connsiteX0" fmla="*/ 0 w 150493"/>
                  <a:gd name="connsiteY0" fmla="*/ 4593 h 103112"/>
                  <a:gd name="connsiteX1" fmla="*/ 0 w 150493"/>
                  <a:gd name="connsiteY1" fmla="*/ 82742 h 103112"/>
                  <a:gd name="connsiteX2" fmla="*/ 142455 w 150493"/>
                  <a:gd name="connsiteY2" fmla="*/ 102264 h 103112"/>
                  <a:gd name="connsiteX3" fmla="*/ 150493 w 150493"/>
                  <a:gd name="connsiteY3" fmla="*/ 40191 h 103112"/>
                  <a:gd name="connsiteX4" fmla="*/ 24115 w 150493"/>
                  <a:gd name="connsiteY4" fmla="*/ 4593 h 103112"/>
                  <a:gd name="connsiteX5" fmla="*/ 20670 w 150493"/>
                  <a:gd name="connsiteY5" fmla="*/ 42488 h 103112"/>
                  <a:gd name="connsiteX6" fmla="*/ 12631 w 150493"/>
                  <a:gd name="connsiteY6" fmla="*/ 43636 h 103112"/>
                  <a:gd name="connsiteX7" fmla="*/ 8038 w 150493"/>
                  <a:gd name="connsiteY7" fmla="*/ 0 h 103112"/>
                  <a:gd name="connsiteX8" fmla="*/ 0 w 150493"/>
                  <a:gd name="connsiteY8" fmla="*/ 4593 h 10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493" h="103112">
                    <a:moveTo>
                      <a:pt x="0" y="4593"/>
                    </a:moveTo>
                    <a:lnTo>
                      <a:pt x="0" y="82742"/>
                    </a:lnTo>
                    <a:cubicBezTo>
                      <a:pt x="0" y="82742"/>
                      <a:pt x="122806" y="108005"/>
                      <a:pt x="142455" y="102264"/>
                    </a:cubicBezTo>
                    <a:cubicBezTo>
                      <a:pt x="148197" y="76937"/>
                      <a:pt x="150493" y="40191"/>
                      <a:pt x="150493" y="40191"/>
                    </a:cubicBezTo>
                    <a:lnTo>
                      <a:pt x="24115" y="4593"/>
                    </a:lnTo>
                    <a:lnTo>
                      <a:pt x="20670" y="42488"/>
                    </a:lnTo>
                    <a:lnTo>
                      <a:pt x="12631" y="43636"/>
                    </a:lnTo>
                    <a:lnTo>
                      <a:pt x="8038" y="0"/>
                    </a:lnTo>
                    <a:lnTo>
                      <a:pt x="0" y="4593"/>
                    </a:ln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2" name="Graphic 4">
              <a:extLst>
                <a:ext uri="{FF2B5EF4-FFF2-40B4-BE49-F238E27FC236}">
                  <a16:creationId xmlns:a16="http://schemas.microsoft.com/office/drawing/2014/main" id="{0331AE6B-EE0C-4BF4-9D5F-3FA87D9637E7}"/>
                </a:ext>
              </a:extLst>
            </p:cNvPr>
            <p:cNvGrpSpPr/>
            <p:nvPr/>
          </p:nvGrpSpPr>
          <p:grpSpPr>
            <a:xfrm>
              <a:off x="968073" y="2459762"/>
              <a:ext cx="459773" cy="517061"/>
              <a:chOff x="13190590" y="4275596"/>
              <a:chExt cx="459773" cy="517061"/>
            </a:xfrm>
            <a:solidFill>
              <a:srgbClr val="2251FF"/>
            </a:solidFill>
          </p:grpSpPr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2EE5B132-CE53-4B5F-B156-5980ACEBE683}"/>
                  </a:ext>
                </a:extLst>
              </p:cNvPr>
              <p:cNvSpPr/>
              <p:nvPr/>
            </p:nvSpPr>
            <p:spPr>
              <a:xfrm>
                <a:off x="13190590" y="4275596"/>
                <a:ext cx="459773" cy="517061"/>
              </a:xfrm>
              <a:custGeom>
                <a:avLst/>
                <a:gdLst>
                  <a:gd name="connsiteX0" fmla="*/ 250779 w 459773"/>
                  <a:gd name="connsiteY0" fmla="*/ 517061 h 517061"/>
                  <a:gd name="connsiteX1" fmla="*/ 457604 w 459773"/>
                  <a:gd name="connsiteY1" fmla="*/ 478019 h 517061"/>
                  <a:gd name="connsiteX2" fmla="*/ 459773 w 459773"/>
                  <a:gd name="connsiteY2" fmla="*/ 0 h 517061"/>
                  <a:gd name="connsiteX3" fmla="*/ 447269 w 459773"/>
                  <a:gd name="connsiteY3" fmla="*/ 6316 h 517061"/>
                  <a:gd name="connsiteX4" fmla="*/ 447269 w 459773"/>
                  <a:gd name="connsiteY4" fmla="*/ 83827 h 517061"/>
                  <a:gd name="connsiteX5" fmla="*/ 224368 w 459773"/>
                  <a:gd name="connsiteY5" fmla="*/ 184943 h 517061"/>
                  <a:gd name="connsiteX6" fmla="*/ 16395 w 459773"/>
                  <a:gd name="connsiteY6" fmla="*/ 93014 h 517061"/>
                  <a:gd name="connsiteX7" fmla="*/ 16906 w 459773"/>
                  <a:gd name="connsiteY7" fmla="*/ 14992 h 517061"/>
                  <a:gd name="connsiteX8" fmla="*/ 0 w 459773"/>
                  <a:gd name="connsiteY8" fmla="*/ 14864 h 517061"/>
                  <a:gd name="connsiteX9" fmla="*/ 9505 w 459773"/>
                  <a:gd name="connsiteY9" fmla="*/ 472213 h 517061"/>
                  <a:gd name="connsiteX10" fmla="*/ 250779 w 459773"/>
                  <a:gd name="connsiteY10" fmla="*/ 517061 h 517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9773" h="517061">
                    <a:moveTo>
                      <a:pt x="250779" y="517061"/>
                    </a:moveTo>
                    <a:cubicBezTo>
                      <a:pt x="340412" y="517061"/>
                      <a:pt x="457732" y="472213"/>
                      <a:pt x="457604" y="478019"/>
                    </a:cubicBezTo>
                    <a:lnTo>
                      <a:pt x="459773" y="0"/>
                    </a:lnTo>
                    <a:lnTo>
                      <a:pt x="447269" y="6316"/>
                    </a:lnTo>
                    <a:lnTo>
                      <a:pt x="447269" y="83827"/>
                    </a:lnTo>
                    <a:cubicBezTo>
                      <a:pt x="447269" y="83827"/>
                      <a:pt x="364527" y="184943"/>
                      <a:pt x="224368" y="184943"/>
                    </a:cubicBezTo>
                    <a:cubicBezTo>
                      <a:pt x="84210" y="184943"/>
                      <a:pt x="16395" y="93014"/>
                      <a:pt x="16395" y="93014"/>
                    </a:cubicBezTo>
                    <a:lnTo>
                      <a:pt x="16906" y="14992"/>
                    </a:lnTo>
                    <a:lnTo>
                      <a:pt x="0" y="14864"/>
                    </a:lnTo>
                    <a:lnTo>
                      <a:pt x="9505" y="472213"/>
                    </a:lnTo>
                    <a:cubicBezTo>
                      <a:pt x="9505" y="472213"/>
                      <a:pt x="161147" y="517061"/>
                      <a:pt x="250779" y="517061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D7AFE61E-551B-4CC9-9799-841A968C6DA8}"/>
                  </a:ext>
                </a:extLst>
              </p:cNvPr>
              <p:cNvSpPr/>
              <p:nvPr/>
            </p:nvSpPr>
            <p:spPr>
              <a:xfrm>
                <a:off x="13211195" y="4373713"/>
                <a:ext cx="79552" cy="397317"/>
              </a:xfrm>
              <a:custGeom>
                <a:avLst/>
                <a:gdLst>
                  <a:gd name="connsiteX0" fmla="*/ 79553 w 79552"/>
                  <a:gd name="connsiteY0" fmla="*/ 397317 h 397317"/>
                  <a:gd name="connsiteX1" fmla="*/ 7847 w 79552"/>
                  <a:gd name="connsiteY1" fmla="*/ 8485 h 397317"/>
                  <a:gd name="connsiteX2" fmla="*/ 0 w 79552"/>
                  <a:gd name="connsiteY2" fmla="*/ 0 h 397317"/>
                  <a:gd name="connsiteX3" fmla="*/ 71578 w 79552"/>
                  <a:gd name="connsiteY3" fmla="*/ 395467 h 397317"/>
                  <a:gd name="connsiteX4" fmla="*/ 79553 w 79552"/>
                  <a:gd name="connsiteY4" fmla="*/ 397317 h 39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52" h="397317">
                    <a:moveTo>
                      <a:pt x="79553" y="397317"/>
                    </a:moveTo>
                    <a:cubicBezTo>
                      <a:pt x="40893" y="291289"/>
                      <a:pt x="14609" y="70111"/>
                      <a:pt x="7847" y="8485"/>
                    </a:cubicBezTo>
                    <a:cubicBezTo>
                      <a:pt x="4529" y="5104"/>
                      <a:pt x="1914" y="2233"/>
                      <a:pt x="0" y="0"/>
                    </a:cubicBezTo>
                    <a:cubicBezTo>
                      <a:pt x="4721" y="44976"/>
                      <a:pt x="30686" y="279870"/>
                      <a:pt x="71578" y="395467"/>
                    </a:cubicBezTo>
                    <a:cubicBezTo>
                      <a:pt x="74194" y="396105"/>
                      <a:pt x="76810" y="396679"/>
                      <a:pt x="79553" y="397317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6AE9113D-7F72-4BCC-9951-EEAAF45C9828}"/>
                  </a:ext>
                </a:extLst>
              </p:cNvPr>
              <p:cNvSpPr/>
              <p:nvPr/>
            </p:nvSpPr>
            <p:spPr>
              <a:xfrm>
                <a:off x="13359949" y="4456137"/>
                <a:ext cx="20048" cy="331544"/>
              </a:xfrm>
              <a:custGeom>
                <a:avLst/>
                <a:gdLst>
                  <a:gd name="connsiteX0" fmla="*/ 20049 w 20048"/>
                  <a:gd name="connsiteY0" fmla="*/ 331545 h 331544"/>
                  <a:gd name="connsiteX1" fmla="*/ 10288 w 20048"/>
                  <a:gd name="connsiteY1" fmla="*/ 1084 h 331544"/>
                  <a:gd name="connsiteX2" fmla="*/ 3398 w 20048"/>
                  <a:gd name="connsiteY2" fmla="*/ 0 h 331544"/>
                  <a:gd name="connsiteX3" fmla="*/ 12840 w 20048"/>
                  <a:gd name="connsiteY3" fmla="*/ 330524 h 331544"/>
                  <a:gd name="connsiteX4" fmla="*/ 20049 w 20048"/>
                  <a:gd name="connsiteY4" fmla="*/ 331545 h 33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48" h="331544">
                    <a:moveTo>
                      <a:pt x="20049" y="331545"/>
                    </a:moveTo>
                    <a:cubicBezTo>
                      <a:pt x="2058" y="233682"/>
                      <a:pt x="7034" y="71515"/>
                      <a:pt x="10288" y="1084"/>
                    </a:cubicBezTo>
                    <a:cubicBezTo>
                      <a:pt x="7928" y="766"/>
                      <a:pt x="5631" y="383"/>
                      <a:pt x="3398" y="0"/>
                    </a:cubicBezTo>
                    <a:cubicBezTo>
                      <a:pt x="17" y="69792"/>
                      <a:pt x="-5214" y="230620"/>
                      <a:pt x="12840" y="330524"/>
                    </a:cubicBezTo>
                    <a:cubicBezTo>
                      <a:pt x="15200" y="330906"/>
                      <a:pt x="17624" y="331225"/>
                      <a:pt x="20049" y="331545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61152C64-159A-4387-AEB9-C987E707D930}"/>
                  </a:ext>
                </a:extLst>
              </p:cNvPr>
              <p:cNvSpPr/>
              <p:nvPr/>
            </p:nvSpPr>
            <p:spPr>
              <a:xfrm>
                <a:off x="13599581" y="4360826"/>
                <a:ext cx="37065" cy="404462"/>
              </a:xfrm>
              <a:custGeom>
                <a:avLst/>
                <a:gdLst>
                  <a:gd name="connsiteX0" fmla="*/ 37065 w 37065"/>
                  <a:gd name="connsiteY0" fmla="*/ 0 h 404462"/>
                  <a:gd name="connsiteX1" fmla="*/ 30111 w 37065"/>
                  <a:gd name="connsiteY1" fmla="*/ 7528 h 404462"/>
                  <a:gd name="connsiteX2" fmla="*/ 0 w 37065"/>
                  <a:gd name="connsiteY2" fmla="*/ 404463 h 404462"/>
                  <a:gd name="connsiteX3" fmla="*/ 7528 w 37065"/>
                  <a:gd name="connsiteY3" fmla="*/ 402357 h 404462"/>
                  <a:gd name="connsiteX4" fmla="*/ 37065 w 37065"/>
                  <a:gd name="connsiteY4" fmla="*/ 0 h 40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65" h="404462">
                    <a:moveTo>
                      <a:pt x="37065" y="0"/>
                    </a:moveTo>
                    <a:cubicBezTo>
                      <a:pt x="35789" y="1468"/>
                      <a:pt x="33429" y="4083"/>
                      <a:pt x="30111" y="7528"/>
                    </a:cubicBezTo>
                    <a:cubicBezTo>
                      <a:pt x="29027" y="92631"/>
                      <a:pt x="23923" y="300285"/>
                      <a:pt x="0" y="404463"/>
                    </a:cubicBezTo>
                    <a:cubicBezTo>
                      <a:pt x="2616" y="403761"/>
                      <a:pt x="5104" y="402995"/>
                      <a:pt x="7528" y="402357"/>
                    </a:cubicBezTo>
                    <a:cubicBezTo>
                      <a:pt x="31643" y="292821"/>
                      <a:pt x="36236" y="78915"/>
                      <a:pt x="37065" y="0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AF3321F3-4E3F-46BC-9DDD-42057341A28D}"/>
                  </a:ext>
                </a:extLst>
              </p:cNvPr>
              <p:cNvSpPr/>
              <p:nvPr/>
            </p:nvSpPr>
            <p:spPr>
              <a:xfrm>
                <a:off x="13491129" y="4431384"/>
                <a:ext cx="50143" cy="357509"/>
              </a:xfrm>
              <a:custGeom>
                <a:avLst/>
                <a:gdLst>
                  <a:gd name="connsiteX0" fmla="*/ 50143 w 50143"/>
                  <a:gd name="connsiteY0" fmla="*/ 0 h 357509"/>
                  <a:gd name="connsiteX1" fmla="*/ 42934 w 50143"/>
                  <a:gd name="connsiteY1" fmla="*/ 3317 h 357509"/>
                  <a:gd name="connsiteX2" fmla="*/ 0 w 50143"/>
                  <a:gd name="connsiteY2" fmla="*/ 357509 h 357509"/>
                  <a:gd name="connsiteX3" fmla="*/ 7273 w 50143"/>
                  <a:gd name="connsiteY3" fmla="*/ 356425 h 357509"/>
                  <a:gd name="connsiteX4" fmla="*/ 50143 w 50143"/>
                  <a:gd name="connsiteY4" fmla="*/ 0 h 357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43" h="357509">
                    <a:moveTo>
                      <a:pt x="50143" y="0"/>
                    </a:moveTo>
                    <a:cubicBezTo>
                      <a:pt x="47783" y="1148"/>
                      <a:pt x="45422" y="2233"/>
                      <a:pt x="42934" y="3317"/>
                    </a:cubicBezTo>
                    <a:cubicBezTo>
                      <a:pt x="36300" y="86953"/>
                      <a:pt x="20606" y="262071"/>
                      <a:pt x="0" y="357509"/>
                    </a:cubicBezTo>
                    <a:cubicBezTo>
                      <a:pt x="2424" y="357190"/>
                      <a:pt x="4848" y="356807"/>
                      <a:pt x="7273" y="356425"/>
                    </a:cubicBezTo>
                    <a:cubicBezTo>
                      <a:pt x="28070" y="258435"/>
                      <a:pt x="43700" y="81339"/>
                      <a:pt x="50143" y="0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3" name="Graphic 4">
              <a:extLst>
                <a:ext uri="{FF2B5EF4-FFF2-40B4-BE49-F238E27FC236}">
                  <a16:creationId xmlns:a16="http://schemas.microsoft.com/office/drawing/2014/main" id="{93B9441E-EB90-4341-8BE9-2A3A4F50F092}"/>
                </a:ext>
              </a:extLst>
            </p:cNvPr>
            <p:cNvGrpSpPr/>
            <p:nvPr/>
          </p:nvGrpSpPr>
          <p:grpSpPr>
            <a:xfrm>
              <a:off x="1090879" y="2657910"/>
              <a:ext cx="228004" cy="101689"/>
              <a:chOff x="13313396" y="4473744"/>
              <a:chExt cx="228004" cy="101689"/>
            </a:xfrm>
          </p:grpSpPr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DF02B95C-79A7-45A7-A9CC-3249F991270D}"/>
                  </a:ext>
                </a:extLst>
              </p:cNvPr>
              <p:cNvSpPr/>
              <p:nvPr/>
            </p:nvSpPr>
            <p:spPr>
              <a:xfrm>
                <a:off x="13313396" y="4473744"/>
                <a:ext cx="228004" cy="101689"/>
              </a:xfrm>
              <a:custGeom>
                <a:avLst/>
                <a:gdLst>
                  <a:gd name="connsiteX0" fmla="*/ 0 w 228004"/>
                  <a:gd name="connsiteY0" fmla="*/ 0 h 101689"/>
                  <a:gd name="connsiteX1" fmla="*/ 228005 w 228004"/>
                  <a:gd name="connsiteY1" fmla="*/ 2488 h 101689"/>
                  <a:gd name="connsiteX2" fmla="*/ 116171 w 228004"/>
                  <a:gd name="connsiteY2" fmla="*/ 101690 h 101689"/>
                  <a:gd name="connsiteX3" fmla="*/ 0 w 228004"/>
                  <a:gd name="connsiteY3" fmla="*/ 0 h 101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004" h="101689">
                    <a:moveTo>
                      <a:pt x="0" y="0"/>
                    </a:moveTo>
                    <a:cubicBezTo>
                      <a:pt x="0" y="0"/>
                      <a:pt x="106474" y="42870"/>
                      <a:pt x="228005" y="2488"/>
                    </a:cubicBezTo>
                    <a:cubicBezTo>
                      <a:pt x="228005" y="2488"/>
                      <a:pt x="186601" y="101690"/>
                      <a:pt x="116171" y="101690"/>
                    </a:cubicBezTo>
                    <a:cubicBezTo>
                      <a:pt x="50398" y="10169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40D00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19883DF-C98E-40B2-8876-75DFA0C921D9}"/>
                  </a:ext>
                </a:extLst>
              </p:cNvPr>
              <p:cNvSpPr/>
              <p:nvPr/>
            </p:nvSpPr>
            <p:spPr>
              <a:xfrm>
                <a:off x="13329344" y="4486950"/>
                <a:ext cx="200381" cy="47199"/>
              </a:xfrm>
              <a:custGeom>
                <a:avLst/>
                <a:gdLst>
                  <a:gd name="connsiteX0" fmla="*/ 0 w 200381"/>
                  <a:gd name="connsiteY0" fmla="*/ 0 h 47199"/>
                  <a:gd name="connsiteX1" fmla="*/ 97990 w 200381"/>
                  <a:gd name="connsiteY1" fmla="*/ 47145 h 47199"/>
                  <a:gd name="connsiteX2" fmla="*/ 200381 w 200381"/>
                  <a:gd name="connsiteY2" fmla="*/ 0 h 47199"/>
                  <a:gd name="connsiteX3" fmla="*/ 99840 w 200381"/>
                  <a:gd name="connsiteY3" fmla="*/ 19521 h 47199"/>
                  <a:gd name="connsiteX4" fmla="*/ 0 w 200381"/>
                  <a:gd name="connsiteY4" fmla="*/ 0 h 47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381" h="47199">
                    <a:moveTo>
                      <a:pt x="0" y="0"/>
                    </a:moveTo>
                    <a:cubicBezTo>
                      <a:pt x="0" y="0"/>
                      <a:pt x="38979" y="49059"/>
                      <a:pt x="97990" y="47145"/>
                    </a:cubicBezTo>
                    <a:cubicBezTo>
                      <a:pt x="163954" y="44976"/>
                      <a:pt x="200381" y="0"/>
                      <a:pt x="200381" y="0"/>
                    </a:cubicBezTo>
                    <a:cubicBezTo>
                      <a:pt x="200381" y="0"/>
                      <a:pt x="149090" y="18245"/>
                      <a:pt x="99840" y="19521"/>
                    </a:cubicBezTo>
                    <a:cubicBezTo>
                      <a:pt x="34131" y="2124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5E6DF"/>
              </a:solidFill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4" name="Graphic 4">
              <a:extLst>
                <a:ext uri="{FF2B5EF4-FFF2-40B4-BE49-F238E27FC236}">
                  <a16:creationId xmlns:a16="http://schemas.microsoft.com/office/drawing/2014/main" id="{B5B038F3-837C-418E-AE4F-565B808D032D}"/>
                </a:ext>
              </a:extLst>
            </p:cNvPr>
            <p:cNvGrpSpPr/>
            <p:nvPr/>
          </p:nvGrpSpPr>
          <p:grpSpPr>
            <a:xfrm>
              <a:off x="944033" y="1928158"/>
              <a:ext cx="482218" cy="558653"/>
              <a:chOff x="13166550" y="3743992"/>
              <a:chExt cx="482218" cy="558653"/>
            </a:xfrm>
            <a:solidFill>
              <a:srgbClr val="2251FF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C5202E85-2D83-44F6-B60F-13C787FBD720}"/>
                  </a:ext>
                </a:extLst>
              </p:cNvPr>
              <p:cNvSpPr/>
              <p:nvPr/>
            </p:nvSpPr>
            <p:spPr>
              <a:xfrm>
                <a:off x="13166613" y="3743992"/>
                <a:ext cx="482154" cy="558653"/>
              </a:xfrm>
              <a:custGeom>
                <a:avLst/>
                <a:gdLst>
                  <a:gd name="connsiteX0" fmla="*/ 482154 w 482154"/>
                  <a:gd name="connsiteY0" fmla="*/ 556165 h 558653"/>
                  <a:gd name="connsiteX1" fmla="*/ 470352 w 482154"/>
                  <a:gd name="connsiteY1" fmla="*/ 558653 h 558653"/>
                  <a:gd name="connsiteX2" fmla="*/ 461166 w 482154"/>
                  <a:gd name="connsiteY2" fmla="*/ 451222 h 558653"/>
                  <a:gd name="connsiteX3" fmla="*/ 460528 w 482154"/>
                  <a:gd name="connsiteY3" fmla="*/ 444077 h 558653"/>
                  <a:gd name="connsiteX4" fmla="*/ 449236 w 482154"/>
                  <a:gd name="connsiteY4" fmla="*/ 311574 h 558653"/>
                  <a:gd name="connsiteX5" fmla="*/ 449108 w 482154"/>
                  <a:gd name="connsiteY5" fmla="*/ 311574 h 558653"/>
                  <a:gd name="connsiteX6" fmla="*/ 448470 w 482154"/>
                  <a:gd name="connsiteY6" fmla="*/ 304301 h 558653"/>
                  <a:gd name="connsiteX7" fmla="*/ 442218 w 482154"/>
                  <a:gd name="connsiteY7" fmla="*/ 230554 h 558653"/>
                  <a:gd name="connsiteX8" fmla="*/ 395967 w 482154"/>
                  <a:gd name="connsiteY8" fmla="*/ 213074 h 558653"/>
                  <a:gd name="connsiteX9" fmla="*/ 388630 w 482154"/>
                  <a:gd name="connsiteY9" fmla="*/ 210841 h 558653"/>
                  <a:gd name="connsiteX10" fmla="*/ 260976 w 482154"/>
                  <a:gd name="connsiteY10" fmla="*/ 189470 h 558653"/>
                  <a:gd name="connsiteX11" fmla="*/ 252874 w 482154"/>
                  <a:gd name="connsiteY11" fmla="*/ 189215 h 558653"/>
                  <a:gd name="connsiteX12" fmla="*/ 81392 w 482154"/>
                  <a:gd name="connsiteY12" fmla="*/ 223664 h 558653"/>
                  <a:gd name="connsiteX13" fmla="*/ 71567 w 482154"/>
                  <a:gd name="connsiteY13" fmla="*/ 297156 h 558653"/>
                  <a:gd name="connsiteX14" fmla="*/ 70483 w 482154"/>
                  <a:gd name="connsiteY14" fmla="*/ 305131 h 558653"/>
                  <a:gd name="connsiteX15" fmla="*/ 40882 w 482154"/>
                  <a:gd name="connsiteY15" fmla="*/ 546596 h 558653"/>
                  <a:gd name="connsiteX16" fmla="*/ 24040 w 482154"/>
                  <a:gd name="connsiteY16" fmla="*/ 546469 h 558653"/>
                  <a:gd name="connsiteX17" fmla="*/ 53 w 482154"/>
                  <a:gd name="connsiteY17" fmla="*/ 293456 h 558653"/>
                  <a:gd name="connsiteX18" fmla="*/ 180 w 482154"/>
                  <a:gd name="connsiteY18" fmla="*/ 286056 h 558653"/>
                  <a:gd name="connsiteX19" fmla="*/ 5858 w 482154"/>
                  <a:gd name="connsiteY19" fmla="*/ 241080 h 558653"/>
                  <a:gd name="connsiteX20" fmla="*/ 65252 w 482154"/>
                  <a:gd name="connsiteY20" fmla="*/ 207524 h 558653"/>
                  <a:gd name="connsiteX21" fmla="*/ 213512 w 482154"/>
                  <a:gd name="connsiteY21" fmla="*/ 23155 h 558653"/>
                  <a:gd name="connsiteX22" fmla="*/ 430352 w 482154"/>
                  <a:gd name="connsiteY22" fmla="*/ 42103 h 558653"/>
                  <a:gd name="connsiteX23" fmla="*/ 435520 w 482154"/>
                  <a:gd name="connsiteY23" fmla="*/ 48163 h 558653"/>
                  <a:gd name="connsiteX24" fmla="*/ 472776 w 482154"/>
                  <a:gd name="connsiteY24" fmla="*/ 150682 h 558653"/>
                  <a:gd name="connsiteX25" fmla="*/ 473606 w 482154"/>
                  <a:gd name="connsiteY25" fmla="*/ 161910 h 558653"/>
                  <a:gd name="connsiteX26" fmla="*/ 479539 w 482154"/>
                  <a:gd name="connsiteY26" fmla="*/ 299836 h 558653"/>
                  <a:gd name="connsiteX27" fmla="*/ 479666 w 482154"/>
                  <a:gd name="connsiteY27" fmla="*/ 306853 h 558653"/>
                  <a:gd name="connsiteX28" fmla="*/ 481772 w 482154"/>
                  <a:gd name="connsiteY28" fmla="*/ 445162 h 558653"/>
                  <a:gd name="connsiteX29" fmla="*/ 481772 w 482154"/>
                  <a:gd name="connsiteY29" fmla="*/ 452307 h 558653"/>
                  <a:gd name="connsiteX30" fmla="*/ 482154 w 482154"/>
                  <a:gd name="connsiteY30" fmla="*/ 556165 h 558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82154" h="558653">
                    <a:moveTo>
                      <a:pt x="482154" y="556165"/>
                    </a:moveTo>
                    <a:lnTo>
                      <a:pt x="470352" y="558653"/>
                    </a:lnTo>
                    <a:lnTo>
                      <a:pt x="461166" y="451222"/>
                    </a:lnTo>
                    <a:lnTo>
                      <a:pt x="460528" y="444077"/>
                    </a:lnTo>
                    <a:lnTo>
                      <a:pt x="449236" y="311574"/>
                    </a:lnTo>
                    <a:lnTo>
                      <a:pt x="449108" y="311574"/>
                    </a:lnTo>
                    <a:lnTo>
                      <a:pt x="448470" y="304301"/>
                    </a:lnTo>
                    <a:lnTo>
                      <a:pt x="442218" y="230554"/>
                    </a:lnTo>
                    <a:cubicBezTo>
                      <a:pt x="442218" y="230554"/>
                      <a:pt x="424994" y="222324"/>
                      <a:pt x="395967" y="213074"/>
                    </a:cubicBezTo>
                    <a:cubicBezTo>
                      <a:pt x="393606" y="212309"/>
                      <a:pt x="391182" y="211607"/>
                      <a:pt x="388630" y="210841"/>
                    </a:cubicBezTo>
                    <a:cubicBezTo>
                      <a:pt x="356414" y="201144"/>
                      <a:pt x="311821" y="191192"/>
                      <a:pt x="260976" y="189470"/>
                    </a:cubicBezTo>
                    <a:cubicBezTo>
                      <a:pt x="258296" y="189342"/>
                      <a:pt x="255553" y="189215"/>
                      <a:pt x="252874" y="189215"/>
                    </a:cubicBezTo>
                    <a:cubicBezTo>
                      <a:pt x="199668" y="188258"/>
                      <a:pt x="140020" y="196487"/>
                      <a:pt x="81392" y="223664"/>
                    </a:cubicBezTo>
                    <a:cubicBezTo>
                      <a:pt x="79669" y="239995"/>
                      <a:pt x="75969" y="266407"/>
                      <a:pt x="71567" y="297156"/>
                    </a:cubicBezTo>
                    <a:cubicBezTo>
                      <a:pt x="71185" y="299836"/>
                      <a:pt x="70802" y="302451"/>
                      <a:pt x="70483" y="305131"/>
                    </a:cubicBezTo>
                    <a:cubicBezTo>
                      <a:pt x="55108" y="411796"/>
                      <a:pt x="55363" y="411541"/>
                      <a:pt x="40882" y="546596"/>
                    </a:cubicBezTo>
                    <a:lnTo>
                      <a:pt x="24040" y="546469"/>
                    </a:lnTo>
                    <a:cubicBezTo>
                      <a:pt x="24040" y="546469"/>
                      <a:pt x="-904" y="386278"/>
                      <a:pt x="53" y="293456"/>
                    </a:cubicBezTo>
                    <a:cubicBezTo>
                      <a:pt x="-75" y="290841"/>
                      <a:pt x="53" y="288416"/>
                      <a:pt x="180" y="286056"/>
                    </a:cubicBezTo>
                    <a:cubicBezTo>
                      <a:pt x="563" y="266917"/>
                      <a:pt x="2349" y="251287"/>
                      <a:pt x="5858" y="241080"/>
                    </a:cubicBezTo>
                    <a:cubicBezTo>
                      <a:pt x="23912" y="188449"/>
                      <a:pt x="65252" y="207524"/>
                      <a:pt x="65252" y="207524"/>
                    </a:cubicBezTo>
                    <a:cubicBezTo>
                      <a:pt x="65252" y="207524"/>
                      <a:pt x="84773" y="73681"/>
                      <a:pt x="213512" y="23155"/>
                    </a:cubicBezTo>
                    <a:cubicBezTo>
                      <a:pt x="300529" y="-11167"/>
                      <a:pt x="382442" y="-9316"/>
                      <a:pt x="430352" y="42103"/>
                    </a:cubicBezTo>
                    <a:cubicBezTo>
                      <a:pt x="432203" y="44080"/>
                      <a:pt x="433925" y="46058"/>
                      <a:pt x="435520" y="48163"/>
                    </a:cubicBezTo>
                    <a:cubicBezTo>
                      <a:pt x="455552" y="72405"/>
                      <a:pt x="468693" y="106153"/>
                      <a:pt x="472776" y="150682"/>
                    </a:cubicBezTo>
                    <a:cubicBezTo>
                      <a:pt x="473159" y="154255"/>
                      <a:pt x="473414" y="157955"/>
                      <a:pt x="473606" y="161910"/>
                    </a:cubicBezTo>
                    <a:cubicBezTo>
                      <a:pt x="476285" y="197316"/>
                      <a:pt x="478135" y="247332"/>
                      <a:pt x="479539" y="299836"/>
                    </a:cubicBezTo>
                    <a:cubicBezTo>
                      <a:pt x="479539" y="302196"/>
                      <a:pt x="479539" y="304493"/>
                      <a:pt x="479666" y="306853"/>
                    </a:cubicBezTo>
                    <a:cubicBezTo>
                      <a:pt x="480751" y="354317"/>
                      <a:pt x="481389" y="403248"/>
                      <a:pt x="481772" y="445162"/>
                    </a:cubicBezTo>
                    <a:lnTo>
                      <a:pt x="481772" y="452307"/>
                    </a:lnTo>
                    <a:cubicBezTo>
                      <a:pt x="482154" y="512402"/>
                      <a:pt x="482154" y="556165"/>
                      <a:pt x="482154" y="556165"/>
                    </a:cubicBezTo>
                    <a:close/>
                  </a:path>
                </a:pathLst>
              </a:custGeom>
              <a:grpFill/>
              <a:ln w="63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36" name="Graphic 4">
                <a:extLst>
                  <a:ext uri="{FF2B5EF4-FFF2-40B4-BE49-F238E27FC236}">
                    <a16:creationId xmlns:a16="http://schemas.microsoft.com/office/drawing/2014/main" id="{7794AE39-0F44-4E4B-A0FA-2BDF7F8AEA16}"/>
                  </a:ext>
                </a:extLst>
              </p:cNvPr>
              <p:cNvGrpSpPr/>
              <p:nvPr/>
            </p:nvGrpSpPr>
            <p:grpSpPr>
              <a:xfrm>
                <a:off x="13166550" y="3748965"/>
                <a:ext cx="481707" cy="447205"/>
                <a:chOff x="13166550" y="3748965"/>
                <a:chExt cx="481707" cy="447205"/>
              </a:xfrm>
              <a:grpFill/>
            </p:grpSpPr>
            <p:sp>
              <p:nvSpPr>
                <p:cNvPr id="237" name="Freeform: Shape 236">
                  <a:extLst>
                    <a:ext uri="{FF2B5EF4-FFF2-40B4-BE49-F238E27FC236}">
                      <a16:creationId xmlns:a16="http://schemas.microsoft.com/office/drawing/2014/main" id="{10DF36DD-B357-4131-A933-C4A71B82EA52}"/>
                    </a:ext>
                  </a:extLst>
                </p:cNvPr>
                <p:cNvSpPr/>
                <p:nvPr/>
              </p:nvSpPr>
              <p:spPr>
                <a:xfrm>
                  <a:off x="13290302" y="3748965"/>
                  <a:ext cx="152215" cy="201912"/>
                </a:xfrm>
                <a:custGeom>
                  <a:avLst/>
                  <a:gdLst>
                    <a:gd name="connsiteX0" fmla="*/ 152216 w 152215"/>
                    <a:gd name="connsiteY0" fmla="*/ 0 h 201912"/>
                    <a:gd name="connsiteX1" fmla="*/ 133141 w 152215"/>
                    <a:gd name="connsiteY1" fmla="*/ 4146 h 201912"/>
                    <a:gd name="connsiteX2" fmla="*/ 87719 w 152215"/>
                    <a:gd name="connsiteY2" fmla="*/ 46252 h 201912"/>
                    <a:gd name="connsiteX3" fmla="*/ 0 w 152215"/>
                    <a:gd name="connsiteY3" fmla="*/ 201912 h 201912"/>
                    <a:gd name="connsiteX4" fmla="*/ 8102 w 152215"/>
                    <a:gd name="connsiteY4" fmla="*/ 200445 h 201912"/>
                    <a:gd name="connsiteX5" fmla="*/ 152216 w 152215"/>
                    <a:gd name="connsiteY5" fmla="*/ 0 h 201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2215" h="201912">
                      <a:moveTo>
                        <a:pt x="152216" y="0"/>
                      </a:moveTo>
                      <a:cubicBezTo>
                        <a:pt x="145900" y="1148"/>
                        <a:pt x="139520" y="2615"/>
                        <a:pt x="133141" y="4146"/>
                      </a:cubicBezTo>
                      <a:cubicBezTo>
                        <a:pt x="117511" y="15375"/>
                        <a:pt x="102328" y="29346"/>
                        <a:pt x="87719" y="46252"/>
                      </a:cubicBezTo>
                      <a:cubicBezTo>
                        <a:pt x="44210" y="96522"/>
                        <a:pt x="12504" y="168292"/>
                        <a:pt x="0" y="201912"/>
                      </a:cubicBezTo>
                      <a:cubicBezTo>
                        <a:pt x="2743" y="201402"/>
                        <a:pt x="5423" y="200891"/>
                        <a:pt x="8102" y="200445"/>
                      </a:cubicBezTo>
                      <a:cubicBezTo>
                        <a:pt x="26411" y="153364"/>
                        <a:pt x="76682" y="44082"/>
                        <a:pt x="152216" y="0"/>
                      </a:cubicBez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8" name="Freeform: Shape 237">
                  <a:extLst>
                    <a:ext uri="{FF2B5EF4-FFF2-40B4-BE49-F238E27FC236}">
                      <a16:creationId xmlns:a16="http://schemas.microsoft.com/office/drawing/2014/main" id="{F4831312-78C6-4238-8976-6631E62E06A5}"/>
                    </a:ext>
                  </a:extLst>
                </p:cNvPr>
                <p:cNvSpPr/>
                <p:nvPr/>
              </p:nvSpPr>
              <p:spPr>
                <a:xfrm>
                  <a:off x="13419104" y="3786030"/>
                  <a:ext cx="182965" cy="148196"/>
                </a:xfrm>
                <a:custGeom>
                  <a:avLst/>
                  <a:gdLst>
                    <a:gd name="connsiteX0" fmla="*/ 182965 w 182965"/>
                    <a:gd name="connsiteY0" fmla="*/ 6061 h 148196"/>
                    <a:gd name="connsiteX1" fmla="*/ 8485 w 182965"/>
                    <a:gd name="connsiteY1" fmla="*/ 147431 h 148196"/>
                    <a:gd name="connsiteX2" fmla="*/ 7974 w 182965"/>
                    <a:gd name="connsiteY2" fmla="*/ 148196 h 148196"/>
                    <a:gd name="connsiteX3" fmla="*/ 0 w 182965"/>
                    <a:gd name="connsiteY3" fmla="*/ 147814 h 148196"/>
                    <a:gd name="connsiteX4" fmla="*/ 383 w 182965"/>
                    <a:gd name="connsiteY4" fmla="*/ 147176 h 148196"/>
                    <a:gd name="connsiteX5" fmla="*/ 177798 w 182965"/>
                    <a:gd name="connsiteY5" fmla="*/ 0 h 148196"/>
                    <a:gd name="connsiteX6" fmla="*/ 182965 w 182965"/>
                    <a:gd name="connsiteY6" fmla="*/ 6061 h 148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2965" h="148196">
                      <a:moveTo>
                        <a:pt x="182965" y="6061"/>
                      </a:moveTo>
                      <a:cubicBezTo>
                        <a:pt x="99585" y="23413"/>
                        <a:pt x="35598" y="106347"/>
                        <a:pt x="8485" y="147431"/>
                      </a:cubicBezTo>
                      <a:cubicBezTo>
                        <a:pt x="8357" y="147686"/>
                        <a:pt x="8102" y="147941"/>
                        <a:pt x="7974" y="148196"/>
                      </a:cubicBezTo>
                      <a:cubicBezTo>
                        <a:pt x="5295" y="148069"/>
                        <a:pt x="2679" y="147941"/>
                        <a:pt x="0" y="147814"/>
                      </a:cubicBezTo>
                      <a:cubicBezTo>
                        <a:pt x="128" y="147559"/>
                        <a:pt x="255" y="147431"/>
                        <a:pt x="383" y="147176"/>
                      </a:cubicBezTo>
                      <a:cubicBezTo>
                        <a:pt x="26347" y="107368"/>
                        <a:pt x="91483" y="20351"/>
                        <a:pt x="177798" y="0"/>
                      </a:cubicBezTo>
                      <a:cubicBezTo>
                        <a:pt x="179648" y="1978"/>
                        <a:pt x="181370" y="3955"/>
                        <a:pt x="182965" y="6061"/>
                      </a:cubicBez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9" name="Freeform: Shape 238">
                  <a:extLst>
                    <a:ext uri="{FF2B5EF4-FFF2-40B4-BE49-F238E27FC236}">
                      <a16:creationId xmlns:a16="http://schemas.microsoft.com/office/drawing/2014/main" id="{F2129B3A-DA6D-4AE4-A3F7-6B64ED45733A}"/>
                    </a:ext>
                  </a:extLst>
                </p:cNvPr>
                <p:cNvSpPr/>
                <p:nvPr/>
              </p:nvSpPr>
              <p:spPr>
                <a:xfrm>
                  <a:off x="13555308" y="3905711"/>
                  <a:ext cx="85230" cy="51291"/>
                </a:xfrm>
                <a:custGeom>
                  <a:avLst/>
                  <a:gdLst>
                    <a:gd name="connsiteX0" fmla="*/ 85231 w 85230"/>
                    <a:gd name="connsiteY0" fmla="*/ 6953 h 51291"/>
                    <a:gd name="connsiteX1" fmla="*/ 77639 w 85230"/>
                    <a:gd name="connsiteY1" fmla="*/ 7911 h 51291"/>
                    <a:gd name="connsiteX2" fmla="*/ 7336 w 85230"/>
                    <a:gd name="connsiteY2" fmla="*/ 51291 h 51291"/>
                    <a:gd name="connsiteX3" fmla="*/ 0 w 85230"/>
                    <a:gd name="connsiteY3" fmla="*/ 49059 h 51291"/>
                    <a:gd name="connsiteX4" fmla="*/ 76427 w 85230"/>
                    <a:gd name="connsiteY4" fmla="*/ 957 h 51291"/>
                    <a:gd name="connsiteX5" fmla="*/ 84912 w 85230"/>
                    <a:gd name="connsiteY5" fmla="*/ 0 h 51291"/>
                    <a:gd name="connsiteX6" fmla="*/ 85231 w 85230"/>
                    <a:gd name="connsiteY6" fmla="*/ 6953 h 51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230" h="51291">
                      <a:moveTo>
                        <a:pt x="85231" y="6953"/>
                      </a:moveTo>
                      <a:cubicBezTo>
                        <a:pt x="82615" y="7081"/>
                        <a:pt x="80191" y="7464"/>
                        <a:pt x="77639" y="7911"/>
                      </a:cubicBezTo>
                      <a:cubicBezTo>
                        <a:pt x="47783" y="13206"/>
                        <a:pt x="22903" y="34705"/>
                        <a:pt x="7336" y="51291"/>
                      </a:cubicBezTo>
                      <a:cubicBezTo>
                        <a:pt x="4976" y="50526"/>
                        <a:pt x="2552" y="49824"/>
                        <a:pt x="0" y="49059"/>
                      </a:cubicBezTo>
                      <a:cubicBezTo>
                        <a:pt x="15694" y="31451"/>
                        <a:pt x="42743" y="7017"/>
                        <a:pt x="76427" y="957"/>
                      </a:cubicBezTo>
                      <a:cubicBezTo>
                        <a:pt x="79234" y="447"/>
                        <a:pt x="82105" y="127"/>
                        <a:pt x="84912" y="0"/>
                      </a:cubicBezTo>
                      <a:cubicBezTo>
                        <a:pt x="84975" y="2297"/>
                        <a:pt x="85103" y="4465"/>
                        <a:pt x="85231" y="6953"/>
                      </a:cubicBez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0" name="Freeform: Shape 239">
                  <a:extLst>
                    <a:ext uri="{FF2B5EF4-FFF2-40B4-BE49-F238E27FC236}">
                      <a16:creationId xmlns:a16="http://schemas.microsoft.com/office/drawing/2014/main" id="{EDB30FAB-0497-4C79-800B-7ADF8DB77F58}"/>
                    </a:ext>
                  </a:extLst>
                </p:cNvPr>
                <p:cNvSpPr/>
                <p:nvPr/>
              </p:nvSpPr>
              <p:spPr>
                <a:xfrm>
                  <a:off x="13166550" y="4024804"/>
                  <a:ext cx="71631" cy="24382"/>
                </a:xfrm>
                <a:custGeom>
                  <a:avLst/>
                  <a:gdLst>
                    <a:gd name="connsiteX0" fmla="*/ 71631 w 71631"/>
                    <a:gd name="connsiteY0" fmla="*/ 16344 h 24382"/>
                    <a:gd name="connsiteX1" fmla="*/ 24295 w 71631"/>
                    <a:gd name="connsiteY1" fmla="*/ 12 h 24382"/>
                    <a:gd name="connsiteX2" fmla="*/ 180 w 71631"/>
                    <a:gd name="connsiteY2" fmla="*/ 5307 h 24382"/>
                    <a:gd name="connsiteX3" fmla="*/ 53 w 71631"/>
                    <a:gd name="connsiteY3" fmla="*/ 12707 h 24382"/>
                    <a:gd name="connsiteX4" fmla="*/ 24423 w 71631"/>
                    <a:gd name="connsiteY4" fmla="*/ 6902 h 24382"/>
                    <a:gd name="connsiteX5" fmla="*/ 70483 w 71631"/>
                    <a:gd name="connsiteY5" fmla="*/ 24382 h 24382"/>
                    <a:gd name="connsiteX6" fmla="*/ 71631 w 71631"/>
                    <a:gd name="connsiteY6" fmla="*/ 16344 h 24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631" h="24382">
                      <a:moveTo>
                        <a:pt x="71631" y="16344"/>
                      </a:moveTo>
                      <a:cubicBezTo>
                        <a:pt x="60212" y="8369"/>
                        <a:pt x="43242" y="-371"/>
                        <a:pt x="24295" y="12"/>
                      </a:cubicBezTo>
                      <a:cubicBezTo>
                        <a:pt x="18490" y="140"/>
                        <a:pt x="7581" y="2883"/>
                        <a:pt x="180" y="5307"/>
                      </a:cubicBezTo>
                      <a:cubicBezTo>
                        <a:pt x="53" y="7668"/>
                        <a:pt x="-75" y="10092"/>
                        <a:pt x="53" y="12707"/>
                      </a:cubicBezTo>
                      <a:cubicBezTo>
                        <a:pt x="7453" y="10028"/>
                        <a:pt x="18490" y="7029"/>
                        <a:pt x="24423" y="6902"/>
                      </a:cubicBezTo>
                      <a:cubicBezTo>
                        <a:pt x="42860" y="6519"/>
                        <a:pt x="59957" y="16471"/>
                        <a:pt x="70483" y="24382"/>
                      </a:cubicBezTo>
                      <a:lnTo>
                        <a:pt x="71631" y="16344"/>
                      </a:ln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1" name="Freeform: Shape 240">
                  <a:extLst>
                    <a:ext uri="{FF2B5EF4-FFF2-40B4-BE49-F238E27FC236}">
                      <a16:creationId xmlns:a16="http://schemas.microsoft.com/office/drawing/2014/main" id="{9465311F-C5BB-4815-82FC-C8233D644C75}"/>
                    </a:ext>
                  </a:extLst>
                </p:cNvPr>
                <p:cNvSpPr/>
                <p:nvPr/>
              </p:nvSpPr>
              <p:spPr>
                <a:xfrm>
                  <a:off x="13174960" y="4162795"/>
                  <a:ext cx="44146" cy="15895"/>
                </a:xfrm>
                <a:custGeom>
                  <a:avLst/>
                  <a:gdLst>
                    <a:gd name="connsiteX0" fmla="*/ 44146 w 44146"/>
                    <a:gd name="connsiteY0" fmla="*/ 5688 h 15895"/>
                    <a:gd name="connsiteX1" fmla="*/ 34896 w 44146"/>
                    <a:gd name="connsiteY1" fmla="*/ 1286 h 15895"/>
                    <a:gd name="connsiteX2" fmla="*/ 0 w 44146"/>
                    <a:gd name="connsiteY2" fmla="*/ 7411 h 15895"/>
                    <a:gd name="connsiteX3" fmla="*/ 1021 w 44146"/>
                    <a:gd name="connsiteY3" fmla="*/ 15895 h 15895"/>
                    <a:gd name="connsiteX4" fmla="*/ 32855 w 44146"/>
                    <a:gd name="connsiteY4" fmla="*/ 7921 h 15895"/>
                    <a:gd name="connsiteX5" fmla="*/ 42934 w 44146"/>
                    <a:gd name="connsiteY5" fmla="*/ 14173 h 15895"/>
                    <a:gd name="connsiteX6" fmla="*/ 44146 w 44146"/>
                    <a:gd name="connsiteY6" fmla="*/ 5688 h 15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146" h="15895">
                      <a:moveTo>
                        <a:pt x="44146" y="5688"/>
                      </a:moveTo>
                      <a:cubicBezTo>
                        <a:pt x="41339" y="3966"/>
                        <a:pt x="37384" y="2116"/>
                        <a:pt x="34896" y="1286"/>
                      </a:cubicBezTo>
                      <a:cubicBezTo>
                        <a:pt x="25072" y="-1648"/>
                        <a:pt x="13397" y="457"/>
                        <a:pt x="0" y="7411"/>
                      </a:cubicBezTo>
                      <a:lnTo>
                        <a:pt x="1021" y="15895"/>
                      </a:lnTo>
                      <a:cubicBezTo>
                        <a:pt x="12950" y="9388"/>
                        <a:pt x="24753" y="5433"/>
                        <a:pt x="32855" y="7921"/>
                      </a:cubicBezTo>
                      <a:cubicBezTo>
                        <a:pt x="37256" y="9133"/>
                        <a:pt x="40574" y="11621"/>
                        <a:pt x="42934" y="14173"/>
                      </a:cubicBezTo>
                      <a:lnTo>
                        <a:pt x="44146" y="5688"/>
                      </a:ln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2" name="Freeform: Shape 241">
                  <a:extLst>
                    <a:ext uri="{FF2B5EF4-FFF2-40B4-BE49-F238E27FC236}">
                      <a16:creationId xmlns:a16="http://schemas.microsoft.com/office/drawing/2014/main" id="{B3167F4B-5F8D-4CFF-9E89-9ECF3CFCD0C0}"/>
                    </a:ext>
                  </a:extLst>
                </p:cNvPr>
                <p:cNvSpPr/>
                <p:nvPr/>
              </p:nvSpPr>
              <p:spPr>
                <a:xfrm>
                  <a:off x="13615084" y="4043190"/>
                  <a:ext cx="31132" cy="12312"/>
                </a:xfrm>
                <a:custGeom>
                  <a:avLst/>
                  <a:gdLst>
                    <a:gd name="connsiteX0" fmla="*/ 31132 w 31132"/>
                    <a:gd name="connsiteY0" fmla="*/ 7528 h 12312"/>
                    <a:gd name="connsiteX1" fmla="*/ 21818 w 31132"/>
                    <a:gd name="connsiteY1" fmla="*/ 6890 h 12312"/>
                    <a:gd name="connsiteX2" fmla="*/ 766 w 31132"/>
                    <a:gd name="connsiteY2" fmla="*/ 12312 h 12312"/>
                    <a:gd name="connsiteX3" fmla="*/ 638 w 31132"/>
                    <a:gd name="connsiteY3" fmla="*/ 12312 h 12312"/>
                    <a:gd name="connsiteX4" fmla="*/ 0 w 31132"/>
                    <a:gd name="connsiteY4" fmla="*/ 5040 h 12312"/>
                    <a:gd name="connsiteX5" fmla="*/ 21499 w 31132"/>
                    <a:gd name="connsiteY5" fmla="*/ 0 h 12312"/>
                    <a:gd name="connsiteX6" fmla="*/ 31005 w 31132"/>
                    <a:gd name="connsiteY6" fmla="*/ 510 h 12312"/>
                    <a:gd name="connsiteX7" fmla="*/ 31132 w 31132"/>
                    <a:gd name="connsiteY7" fmla="*/ 7528 h 1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132" h="12312">
                      <a:moveTo>
                        <a:pt x="31132" y="7528"/>
                      </a:moveTo>
                      <a:cubicBezTo>
                        <a:pt x="26348" y="7145"/>
                        <a:pt x="22137" y="6890"/>
                        <a:pt x="21818" y="6890"/>
                      </a:cubicBezTo>
                      <a:cubicBezTo>
                        <a:pt x="13971" y="7273"/>
                        <a:pt x="6826" y="9442"/>
                        <a:pt x="766" y="12312"/>
                      </a:cubicBezTo>
                      <a:lnTo>
                        <a:pt x="638" y="12312"/>
                      </a:lnTo>
                      <a:lnTo>
                        <a:pt x="0" y="5040"/>
                      </a:lnTo>
                      <a:cubicBezTo>
                        <a:pt x="6252" y="2360"/>
                        <a:pt x="13525" y="255"/>
                        <a:pt x="21499" y="0"/>
                      </a:cubicBezTo>
                      <a:cubicBezTo>
                        <a:pt x="22009" y="0"/>
                        <a:pt x="26156" y="255"/>
                        <a:pt x="31005" y="510"/>
                      </a:cubicBezTo>
                      <a:cubicBezTo>
                        <a:pt x="31005" y="2871"/>
                        <a:pt x="31005" y="5231"/>
                        <a:pt x="31132" y="7528"/>
                      </a:cubicBez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3" name="Freeform: Shape 242">
                  <a:extLst>
                    <a:ext uri="{FF2B5EF4-FFF2-40B4-BE49-F238E27FC236}">
                      <a16:creationId xmlns:a16="http://schemas.microsoft.com/office/drawing/2014/main" id="{6D9B8616-5919-438B-A576-15AE122366A2}"/>
                    </a:ext>
                  </a:extLst>
                </p:cNvPr>
                <p:cNvSpPr/>
                <p:nvPr/>
              </p:nvSpPr>
              <p:spPr>
                <a:xfrm>
                  <a:off x="13627077" y="4188069"/>
                  <a:ext cx="21180" cy="8102"/>
                </a:xfrm>
                <a:custGeom>
                  <a:avLst/>
                  <a:gdLst>
                    <a:gd name="connsiteX0" fmla="*/ 21180 w 21180"/>
                    <a:gd name="connsiteY0" fmla="*/ 957 h 8102"/>
                    <a:gd name="connsiteX1" fmla="*/ 21180 w 21180"/>
                    <a:gd name="connsiteY1" fmla="*/ 8102 h 8102"/>
                    <a:gd name="connsiteX2" fmla="*/ 638 w 21180"/>
                    <a:gd name="connsiteY2" fmla="*/ 7145 h 8102"/>
                    <a:gd name="connsiteX3" fmla="*/ 0 w 21180"/>
                    <a:gd name="connsiteY3" fmla="*/ 0 h 8102"/>
                    <a:gd name="connsiteX4" fmla="*/ 21180 w 21180"/>
                    <a:gd name="connsiteY4" fmla="*/ 957 h 8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80" h="8102">
                      <a:moveTo>
                        <a:pt x="21180" y="957"/>
                      </a:moveTo>
                      <a:lnTo>
                        <a:pt x="21180" y="8102"/>
                      </a:lnTo>
                      <a:cubicBezTo>
                        <a:pt x="16140" y="7719"/>
                        <a:pt x="9123" y="7464"/>
                        <a:pt x="638" y="7145"/>
                      </a:cubicBezTo>
                      <a:lnTo>
                        <a:pt x="0" y="0"/>
                      </a:lnTo>
                      <a:cubicBezTo>
                        <a:pt x="8676" y="383"/>
                        <a:pt x="16013" y="574"/>
                        <a:pt x="21180" y="957"/>
                      </a:cubicBezTo>
                      <a:close/>
                    </a:path>
                  </a:pathLst>
                </a:custGeom>
                <a:grpFill/>
                <a:ln w="63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275" name="TextBox 274">
            <a:extLst>
              <a:ext uri="{FF2B5EF4-FFF2-40B4-BE49-F238E27FC236}">
                <a16:creationId xmlns:a16="http://schemas.microsoft.com/office/drawing/2014/main" id="{269A079B-E636-4115-988B-23FE0DD39D2A}"/>
              </a:ext>
            </a:extLst>
          </p:cNvPr>
          <p:cNvSpPr txBox="1"/>
          <p:nvPr/>
        </p:nvSpPr>
        <p:spPr>
          <a:xfrm>
            <a:off x="544242" y="9486156"/>
            <a:ext cx="664767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tr-TR" sz="1400" i="1" dirty="0"/>
              <a:t>*</a:t>
            </a:r>
            <a:r>
              <a:rPr lang="en-GB" sz="1400" i="1" dirty="0">
                <a:solidFill>
                  <a:srgbClr val="000000"/>
                </a:solidFill>
              </a:rPr>
              <a:t> A ppt version of </a:t>
            </a:r>
            <a:r>
              <a:rPr lang="en-GB" sz="1400" i="1" dirty="0" err="1">
                <a:solidFill>
                  <a:srgbClr val="000000"/>
                </a:solidFill>
              </a:rPr>
              <a:t>th</a:t>
            </a:r>
            <a:r>
              <a:rPr lang="tr-TR" sz="1400" i="1" dirty="0">
                <a:solidFill>
                  <a:srgbClr val="000000"/>
                </a:solidFill>
              </a:rPr>
              <a:t>is page </a:t>
            </a:r>
            <a:r>
              <a:rPr lang="en-GB" sz="1400" i="1" dirty="0">
                <a:solidFill>
                  <a:srgbClr val="000000"/>
                </a:solidFill>
              </a:rPr>
              <a:t>can be downloaded from your Learning Platform</a:t>
            </a:r>
            <a:endParaRPr lang="tr-TR" sz="1400" i="1" dirty="0"/>
          </a:p>
        </p:txBody>
      </p:sp>
    </p:spTree>
    <p:extLst>
      <p:ext uri="{BB962C8B-B14F-4D97-AF65-F5344CB8AC3E}">
        <p14:creationId xmlns:p14="http://schemas.microsoft.com/office/powerpoint/2010/main" val="1146104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TEMPLATELASTEDITED" val="2019-05-24 06:40 PM"/>
  <p:tag name="BLUEONEFOURTHTITLEFONTCOLORFIXED" val="true"/>
  <p:tag name="DARKLAYOUTNAMESCHANGEDTOCONTRAST" val="true"/>
  <p:tag name="ICONLINEFILL" val="Color [A=255, R=0, G=0, B=0]"/>
  <p:tag name="ICONLINEFILLTHEME" val="Text 1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rzLkm9cwvA5sJef76Y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CDQeQDeuDVXNyjNLN6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pkfLYEfOjUibVldrAYP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QicxoTRqKhjsbR7wJ6f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rzLkm9cwvA5sJef76Y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CDQeQDeuDVXNyjNLN6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pkfLYEfOjUibVldrAYP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QicxoTRqKhjsbR7wJ6f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6tbb1nQ76W5Yx0khB4U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lfQqRR3HSoddicvht1_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zboHfX0ftsNs6s0eKC2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fRJt9kTHVfA4mRmUveO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Y0t9F729MjuDAk8Ah07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C3DB6D75-13A5-4C0F-8942-87494439BA8D}"/>
    </a:ext>
  </a:extLst>
</a:theme>
</file>

<file path=ppt/theme/theme2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3.xml><?xml version="1.0" encoding="utf-8"?>
<a:theme xmlns:a="http://schemas.openxmlformats.org/drawingml/2006/main" name="2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11657</TotalTime>
  <Words>442</Words>
  <Application>Microsoft Office PowerPoint</Application>
  <PresentationFormat>Custom</PresentationFormat>
  <Paragraphs>7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Georgia</vt:lpstr>
      <vt:lpstr>Segoe UI</vt:lpstr>
      <vt:lpstr>Times New Roman</vt:lpstr>
      <vt:lpstr>Wingdings</vt:lpstr>
      <vt:lpstr>White</vt:lpstr>
      <vt:lpstr>1_White</vt:lpstr>
      <vt:lpstr>2_White</vt:lpstr>
      <vt:lpstr>think-cell Slide</vt:lpstr>
      <vt:lpstr>Case group assignment</vt:lpstr>
      <vt:lpstr>Case group assignment</vt:lpstr>
      <vt:lpstr>Case group assignment</vt:lpstr>
      <vt:lpstr>Case group assignment</vt:lpstr>
      <vt:lpstr>Case group assignm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Gaby Herrera</dc:creator>
  <cp:keywords/>
  <dc:description/>
  <cp:lastModifiedBy>Beliz Eker</cp:lastModifiedBy>
  <cp:revision>446</cp:revision>
  <cp:lastPrinted>2018-10-30T20:37:12Z</cp:lastPrinted>
  <dcterms:created xsi:type="dcterms:W3CDTF">2019-06-13T17:11:01Z</dcterms:created>
  <dcterms:modified xsi:type="dcterms:W3CDTF">2021-06-16T11:53:5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3</vt:lpwstr>
  </property>
  <property fmtid="{D5CDD505-2E9C-101B-9397-08002B2CF9AE}" pid="7" name="TemplateLastEdited">
    <vt:lpwstr>2019-05-24 06:40 PM</vt:lpwstr>
  </property>
  <property fmtid="{D5CDD505-2E9C-101B-9397-08002B2CF9AE}" pid="8" name="TemplateCreated">
    <vt:lpwstr>2019-02-27 01:18 PM</vt:lpwstr>
  </property>
</Properties>
</file>